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8" r:id="rId5"/>
  </p:sldMasterIdLst>
  <p:notesMasterIdLst>
    <p:notesMasterId r:id="rId43"/>
  </p:notesMasterIdLst>
  <p:handoutMasterIdLst>
    <p:handoutMasterId r:id="rId44"/>
  </p:handoutMasterIdLst>
  <p:sldIdLst>
    <p:sldId id="2147471222" r:id="rId6"/>
    <p:sldId id="356" r:id="rId7"/>
    <p:sldId id="398" r:id="rId8"/>
    <p:sldId id="378" r:id="rId9"/>
    <p:sldId id="400" r:id="rId10"/>
    <p:sldId id="2147471220" r:id="rId11"/>
    <p:sldId id="395" r:id="rId12"/>
    <p:sldId id="410" r:id="rId13"/>
    <p:sldId id="411" r:id="rId14"/>
    <p:sldId id="412" r:id="rId15"/>
    <p:sldId id="379" r:id="rId16"/>
    <p:sldId id="2147471216" r:id="rId17"/>
    <p:sldId id="386" r:id="rId18"/>
    <p:sldId id="387" r:id="rId19"/>
    <p:sldId id="388" r:id="rId20"/>
    <p:sldId id="389" r:id="rId21"/>
    <p:sldId id="2147471219" r:id="rId22"/>
    <p:sldId id="2147471126" r:id="rId23"/>
    <p:sldId id="2147471211" r:id="rId24"/>
    <p:sldId id="405" r:id="rId25"/>
    <p:sldId id="2147471223" r:id="rId26"/>
    <p:sldId id="1948" r:id="rId27"/>
    <p:sldId id="1949" r:id="rId28"/>
    <p:sldId id="396" r:id="rId29"/>
    <p:sldId id="358" r:id="rId30"/>
    <p:sldId id="392" r:id="rId31"/>
    <p:sldId id="381" r:id="rId32"/>
    <p:sldId id="382" r:id="rId33"/>
    <p:sldId id="390" r:id="rId34"/>
    <p:sldId id="407" r:id="rId35"/>
    <p:sldId id="397" r:id="rId36"/>
    <p:sldId id="408" r:id="rId37"/>
    <p:sldId id="409" r:id="rId38"/>
    <p:sldId id="2147471217" r:id="rId39"/>
    <p:sldId id="2147471214" r:id="rId40"/>
    <p:sldId id="402" r:id="rId41"/>
    <p:sldId id="2147471221"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115F4C-37F8-B4EE-56B4-1E35F435542E}" name="Yazadzhiyan, Boris" initials="YB" userId="S::Boris.Yazadzhiyan@ukpowernetworks.co.uk::44d1c91d-f898-4abe-8351-12f38d930a7c" providerId="AD"/>
  <p188:author id="{BAD46258-880F-910E-8FED-16B252E1EDEA}" name="Barnes, Charlie" initials="CB" userId="S::Charlie.Barnes@ukpowernetworks.co.uk::36117f77-fae6-4fb3-806b-c6a759ac5abb" providerId="AD"/>
  <p188:author id="{2E9FED65-C085-369F-FACB-1865CC69041E}" name="Payal MAJMUDAR" initials="PM" userId="S::payal.majmudar@sia-partners.com::b92942ee-31c2-4c58-8187-37ffeb6c3875" providerId="AD"/>
  <p188:author id="{DF0D5C67-470E-203A-FC9C-CD68EBA23D2E}" name="Chloe McLaren Webb" initials="CM" userId="S::Chloe.MclarenWebb@cse.org.uk::1455ef3f-0804-4b6d-8fac-a9752430e358" providerId="AD"/>
  <p188:author id="{0730EE73-877A-5413-4775-7BB4FAAD9CDC}" name="Wheadon, Luke" initials="WL" userId="S::Luke.Wheadon@ukpowernetworks.co.uk::5fb12e26-08de-4017-b1f4-1cbb051a64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tson, James" initials="WJ" lastIdx="8" clrIdx="0">
    <p:extLst>
      <p:ext uri="{19B8F6BF-5375-455C-9EA6-DF929625EA0E}">
        <p15:presenceInfo xmlns:p15="http://schemas.microsoft.com/office/powerpoint/2012/main" userId="S-1-5-21-3377311500-2555963174-4185929806-1629452" providerId="AD"/>
      </p:ext>
    </p:extLst>
  </p:cmAuthor>
  <p:cmAuthor id="2" name="Jones, Richard" initials="JR" lastIdx="4" clrIdx="1">
    <p:extLst>
      <p:ext uri="{19B8F6BF-5375-455C-9EA6-DF929625EA0E}">
        <p15:presenceInfo xmlns:p15="http://schemas.microsoft.com/office/powerpoint/2012/main" userId="S-1-5-21-3377311500-2555963174-4185929806-16505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1521"/>
    <a:srgbClr val="BD281E"/>
    <a:srgbClr val="FAC52F"/>
    <a:srgbClr val="EF8A22"/>
    <a:srgbClr val="9C1420"/>
    <a:srgbClr val="414240"/>
    <a:srgbClr val="A66EAA"/>
    <a:srgbClr val="A6B92A"/>
    <a:srgbClr val="128EC4"/>
    <a:srgbClr val="34A9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62" y="389"/>
      </p:cViewPr>
      <p:guideLst>
        <p:guide orient="horz" pos="2137"/>
        <p:guide pos="3863"/>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nes, Charlie" userId="36117f77-fae6-4fb3-806b-c6a759ac5abb" providerId="ADAL" clId="{1535B24A-D34A-4297-AC47-D907B338BA38}"/>
    <pc:docChg chg="modSld">
      <pc:chgData name="Barnes, Charlie" userId="36117f77-fae6-4fb3-806b-c6a759ac5abb" providerId="ADAL" clId="{1535B24A-D34A-4297-AC47-D907B338BA38}" dt="2024-08-05T20:08:55.649" v="28"/>
      <pc:docMkLst>
        <pc:docMk/>
      </pc:docMkLst>
      <pc:sldChg chg="delCm">
        <pc:chgData name="Barnes, Charlie" userId="36117f77-fae6-4fb3-806b-c6a759ac5abb" providerId="ADAL" clId="{1535B24A-D34A-4297-AC47-D907B338BA38}" dt="2024-08-05T20:07:30.549" v="1"/>
        <pc:sldMkLst>
          <pc:docMk/>
          <pc:sldMk cId="817516290" sldId="378"/>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7:28.675" v="0"/>
              <pc2:cmMkLst xmlns:pc2="http://schemas.microsoft.com/office/powerpoint/2019/9/main/command">
                <pc:docMk/>
                <pc:sldMk cId="817516290" sldId="378"/>
                <pc2:cmMk id="{66696420-2C52-4857-A6C1-E7972FFF4BA1}"/>
              </pc2:cmMkLst>
            </pc226:cmChg>
            <pc226:cmChg xmlns:pc226="http://schemas.microsoft.com/office/powerpoint/2022/06/main/command" chg="del">
              <pc226:chgData name="Barnes, Charlie" userId="36117f77-fae6-4fb3-806b-c6a759ac5abb" providerId="ADAL" clId="{1535B24A-D34A-4297-AC47-D907B338BA38}" dt="2024-08-05T20:07:30.549" v="1"/>
              <pc2:cmMkLst xmlns:pc2="http://schemas.microsoft.com/office/powerpoint/2019/9/main/command">
                <pc:docMk/>
                <pc:sldMk cId="817516290" sldId="378"/>
                <pc2:cmMk id="{FB218473-6F03-416E-A1DE-1EA0883B415C}"/>
              </pc2:cmMkLst>
            </pc226:cmChg>
          </p:ext>
        </pc:extLst>
      </pc:sldChg>
      <pc:sldChg chg="delCm">
        <pc:chgData name="Barnes, Charlie" userId="36117f77-fae6-4fb3-806b-c6a759ac5abb" providerId="ADAL" clId="{1535B24A-D34A-4297-AC47-D907B338BA38}" dt="2024-08-05T20:07:59.529" v="12"/>
        <pc:sldMkLst>
          <pc:docMk/>
          <pc:sldMk cId="2840105678" sldId="379"/>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7:59.529" v="12"/>
              <pc2:cmMkLst xmlns:pc2="http://schemas.microsoft.com/office/powerpoint/2019/9/main/command">
                <pc:docMk/>
                <pc:sldMk cId="2840105678" sldId="379"/>
                <pc2:cmMk id="{C8F3C8FF-65F6-41B9-BDAD-F1FC51BC0E82}"/>
              </pc2:cmMkLst>
            </pc226:cmChg>
          </p:ext>
        </pc:extLst>
      </pc:sldChg>
      <pc:sldChg chg="delCm">
        <pc:chgData name="Barnes, Charlie" userId="36117f77-fae6-4fb3-806b-c6a759ac5abb" providerId="ADAL" clId="{1535B24A-D34A-4297-AC47-D907B338BA38}" dt="2024-08-05T20:08:08.696" v="15"/>
        <pc:sldMkLst>
          <pc:docMk/>
          <pc:sldMk cId="391724550" sldId="386"/>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07.096" v="14"/>
              <pc2:cmMkLst xmlns:pc2="http://schemas.microsoft.com/office/powerpoint/2019/9/main/command">
                <pc:docMk/>
                <pc:sldMk cId="391724550" sldId="386"/>
                <pc2:cmMk id="{BF10816D-A279-4A44-BEB9-513102DCFA34}"/>
              </pc2:cmMkLst>
            </pc226:cmChg>
            <pc226:cmChg xmlns:pc226="http://schemas.microsoft.com/office/powerpoint/2022/06/main/command" chg="del">
              <pc226:chgData name="Barnes, Charlie" userId="36117f77-fae6-4fb3-806b-c6a759ac5abb" providerId="ADAL" clId="{1535B24A-D34A-4297-AC47-D907B338BA38}" dt="2024-08-05T20:08:08.696" v="15"/>
              <pc2:cmMkLst xmlns:pc2="http://schemas.microsoft.com/office/powerpoint/2019/9/main/command">
                <pc:docMk/>
                <pc:sldMk cId="391724550" sldId="386"/>
                <pc2:cmMk id="{8636B6B0-9DAE-4E7C-9F57-8CE9AC45FC68}"/>
              </pc2:cmMkLst>
            </pc226:cmChg>
          </p:ext>
        </pc:extLst>
      </pc:sldChg>
      <pc:sldChg chg="modSp mod delCm">
        <pc:chgData name="Barnes, Charlie" userId="36117f77-fae6-4fb3-806b-c6a759ac5abb" providerId="ADAL" clId="{1535B24A-D34A-4297-AC47-D907B338BA38}" dt="2024-08-05T20:08:17.582" v="20" actId="1036"/>
        <pc:sldMkLst>
          <pc:docMk/>
          <pc:sldMk cId="898739553" sldId="387"/>
        </pc:sldMkLst>
        <pc:spChg chg="mod">
          <ac:chgData name="Barnes, Charlie" userId="36117f77-fae6-4fb3-806b-c6a759ac5abb" providerId="ADAL" clId="{1535B24A-D34A-4297-AC47-D907B338BA38}" dt="2024-08-05T20:08:17.582" v="20" actId="1036"/>
          <ac:spMkLst>
            <pc:docMk/>
            <pc:sldMk cId="898739553" sldId="387"/>
            <ac:spMk id="6" creationId="{84AEE208-2228-9A04-BC68-B0695A027B66}"/>
          </ac:spMkLst>
        </pc:spChg>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15.141" v="17"/>
              <pc2:cmMkLst xmlns:pc2="http://schemas.microsoft.com/office/powerpoint/2019/9/main/command">
                <pc:docMk/>
                <pc:sldMk cId="898739553" sldId="387"/>
                <pc2:cmMk id="{3B6446A4-B353-4239-B818-90AAEB70182A}"/>
              </pc2:cmMkLst>
            </pc226:cmChg>
            <pc226:cmChg xmlns:pc226="http://schemas.microsoft.com/office/powerpoint/2022/06/main/command" chg="del">
              <pc226:chgData name="Barnes, Charlie" userId="36117f77-fae6-4fb3-806b-c6a759ac5abb" providerId="ADAL" clId="{1535B24A-D34A-4297-AC47-D907B338BA38}" dt="2024-08-05T20:08:12.743" v="16"/>
              <pc2:cmMkLst xmlns:pc2="http://schemas.microsoft.com/office/powerpoint/2019/9/main/command">
                <pc:docMk/>
                <pc:sldMk cId="898739553" sldId="387"/>
                <pc2:cmMk id="{00A881E7-00D2-46EC-9B15-B677A3874921}"/>
              </pc2:cmMkLst>
            </pc226:cmChg>
          </p:ext>
        </pc:extLst>
      </pc:sldChg>
      <pc:sldChg chg="delCm">
        <pc:chgData name="Barnes, Charlie" userId="36117f77-fae6-4fb3-806b-c6a759ac5abb" providerId="ADAL" clId="{1535B24A-D34A-4297-AC47-D907B338BA38}" dt="2024-08-05T20:08:23.081" v="21"/>
        <pc:sldMkLst>
          <pc:docMk/>
          <pc:sldMk cId="3585571724" sldId="389"/>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23.081" v="21"/>
              <pc2:cmMkLst xmlns:pc2="http://schemas.microsoft.com/office/powerpoint/2019/9/main/command">
                <pc:docMk/>
                <pc:sldMk cId="3585571724" sldId="389"/>
                <pc2:cmMk id="{572D1191-1809-4D52-8DEB-B48296F20944}"/>
              </pc2:cmMkLst>
            </pc226:cmChg>
          </p:ext>
        </pc:extLst>
      </pc:sldChg>
      <pc:sldChg chg="delCm">
        <pc:chgData name="Barnes, Charlie" userId="36117f77-fae6-4fb3-806b-c6a759ac5abb" providerId="ADAL" clId="{1535B24A-D34A-4297-AC47-D907B338BA38}" dt="2024-08-05T20:08:55.649" v="28"/>
        <pc:sldMkLst>
          <pc:docMk/>
          <pc:sldMk cId="3102081972" sldId="402"/>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55.649" v="28"/>
              <pc2:cmMkLst xmlns:pc2="http://schemas.microsoft.com/office/powerpoint/2019/9/main/command">
                <pc:docMk/>
                <pc:sldMk cId="3102081972" sldId="402"/>
                <pc2:cmMk id="{73EE2122-8ACE-4DA5-A525-78C25D739C6C}"/>
              </pc2:cmMkLst>
            </pc226:cmChg>
          </p:ext>
        </pc:extLst>
      </pc:sldChg>
      <pc:sldChg chg="delCm">
        <pc:chgData name="Barnes, Charlie" userId="36117f77-fae6-4fb3-806b-c6a759ac5abb" providerId="ADAL" clId="{1535B24A-D34A-4297-AC47-D907B338BA38}" dt="2024-08-05T20:07:47.535" v="9"/>
        <pc:sldMkLst>
          <pc:docMk/>
          <pc:sldMk cId="1640909582" sldId="410"/>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7:47.535" v="9"/>
              <pc2:cmMkLst xmlns:pc2="http://schemas.microsoft.com/office/powerpoint/2019/9/main/command">
                <pc:docMk/>
                <pc:sldMk cId="1640909582" sldId="410"/>
                <pc2:cmMk id="{5EBC0654-795C-44FD-9565-B137598091DB}"/>
              </pc2:cmMkLst>
            </pc226:cmChg>
          </p:ext>
        </pc:extLst>
      </pc:sldChg>
      <pc:sldChg chg="delCm">
        <pc:chgData name="Barnes, Charlie" userId="36117f77-fae6-4fb3-806b-c6a759ac5abb" providerId="ADAL" clId="{1535B24A-D34A-4297-AC47-D907B338BA38}" dt="2024-08-05T20:07:55.290" v="11"/>
        <pc:sldMkLst>
          <pc:docMk/>
          <pc:sldMk cId="3187563543" sldId="412"/>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7:53.707" v="10"/>
              <pc2:cmMkLst xmlns:pc2="http://schemas.microsoft.com/office/powerpoint/2019/9/main/command">
                <pc:docMk/>
                <pc:sldMk cId="3187563543" sldId="412"/>
                <pc2:cmMk id="{79ACD81E-616F-4DCB-B73A-D7DD8E2FCEBE}"/>
              </pc2:cmMkLst>
            </pc226:cmChg>
            <pc226:cmChg xmlns:pc226="http://schemas.microsoft.com/office/powerpoint/2022/06/main/command" chg="del">
              <pc226:chgData name="Barnes, Charlie" userId="36117f77-fae6-4fb3-806b-c6a759ac5abb" providerId="ADAL" clId="{1535B24A-D34A-4297-AC47-D907B338BA38}" dt="2024-08-05T20:07:55.290" v="11"/>
              <pc2:cmMkLst xmlns:pc2="http://schemas.microsoft.com/office/powerpoint/2019/9/main/command">
                <pc:docMk/>
                <pc:sldMk cId="3187563543" sldId="412"/>
                <pc2:cmMk id="{93CA0B69-B74E-4339-A031-F50B05C8DE2B}"/>
              </pc2:cmMkLst>
            </pc226:cmChg>
          </p:ext>
        </pc:extLst>
      </pc:sldChg>
      <pc:sldChg chg="delCm">
        <pc:chgData name="Barnes, Charlie" userId="36117f77-fae6-4fb3-806b-c6a759ac5abb" providerId="ADAL" clId="{1535B24A-D34A-4297-AC47-D907B338BA38}" dt="2024-08-05T20:08:41.556" v="26"/>
        <pc:sldMkLst>
          <pc:docMk/>
          <pc:sldMk cId="2372442375" sldId="1948"/>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41.556" v="26"/>
              <pc2:cmMkLst xmlns:pc2="http://schemas.microsoft.com/office/powerpoint/2019/9/main/command">
                <pc:docMk/>
                <pc:sldMk cId="2372442375" sldId="1948"/>
                <pc2:cmMk id="{F1A2F465-B683-44A4-8B59-4C9F506C9EF3}"/>
              </pc2:cmMkLst>
            </pc226:cmChg>
            <pc226:cmChg xmlns:pc226="http://schemas.microsoft.com/office/powerpoint/2022/06/main/command" chg="del">
              <pc226:chgData name="Barnes, Charlie" userId="36117f77-fae6-4fb3-806b-c6a759ac5abb" providerId="ADAL" clId="{1535B24A-D34A-4297-AC47-D907B338BA38}" dt="2024-08-05T20:08:40.107" v="25"/>
              <pc2:cmMkLst xmlns:pc2="http://schemas.microsoft.com/office/powerpoint/2019/9/main/command">
                <pc:docMk/>
                <pc:sldMk cId="2372442375" sldId="1948"/>
                <pc2:cmMk id="{9C1FE8B8-A30E-4583-9DE4-382032328D48}"/>
              </pc2:cmMkLst>
            </pc226:cmChg>
            <pc226:cmChg xmlns:pc226="http://schemas.microsoft.com/office/powerpoint/2022/06/main/command" chg="del">
              <pc226:chgData name="Barnes, Charlie" userId="36117f77-fae6-4fb3-806b-c6a759ac5abb" providerId="ADAL" clId="{1535B24A-D34A-4297-AC47-D907B338BA38}" dt="2024-08-05T20:08:38.331" v="24"/>
              <pc2:cmMkLst xmlns:pc2="http://schemas.microsoft.com/office/powerpoint/2019/9/main/command">
                <pc:docMk/>
                <pc:sldMk cId="2372442375" sldId="1948"/>
                <pc2:cmMk id="{26E9F0E3-830B-4A8B-8510-0962B3186D0C}"/>
              </pc2:cmMkLst>
            </pc226:cmChg>
          </p:ext>
        </pc:extLst>
      </pc:sldChg>
      <pc:sldChg chg="delCm">
        <pc:chgData name="Barnes, Charlie" userId="36117f77-fae6-4fb3-806b-c6a759ac5abb" providerId="ADAL" clId="{1535B24A-D34A-4297-AC47-D907B338BA38}" dt="2024-08-05T20:08:27.293" v="22"/>
        <pc:sldMkLst>
          <pc:docMk/>
          <pc:sldMk cId="1289984638" sldId="2147471126"/>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27.293" v="22"/>
              <pc2:cmMkLst xmlns:pc2="http://schemas.microsoft.com/office/powerpoint/2019/9/main/command">
                <pc:docMk/>
                <pc:sldMk cId="1289984638" sldId="2147471126"/>
                <pc2:cmMk id="{757D4296-D816-4052-8D09-C18AE7DE1893}"/>
              </pc2:cmMkLst>
            </pc226:cmChg>
          </p:ext>
        </pc:extLst>
      </pc:sldChg>
      <pc:sldChg chg="delCm">
        <pc:chgData name="Barnes, Charlie" userId="36117f77-fae6-4fb3-806b-c6a759ac5abb" providerId="ADAL" clId="{1535B24A-D34A-4297-AC47-D907B338BA38}" dt="2024-08-05T20:08:51.658" v="27"/>
        <pc:sldMkLst>
          <pc:docMk/>
          <pc:sldMk cId="190935492" sldId="2147471214"/>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51.658" v="27"/>
              <pc2:cmMkLst xmlns:pc2="http://schemas.microsoft.com/office/powerpoint/2019/9/main/command">
                <pc:docMk/>
                <pc:sldMk cId="190935492" sldId="2147471214"/>
                <pc2:cmMk id="{B4DD48BC-05BB-40C5-83A4-79D54DD5BD26}"/>
              </pc2:cmMkLst>
            </pc226:cmChg>
          </p:ext>
        </pc:extLst>
      </pc:sldChg>
      <pc:sldChg chg="delCm">
        <pc:chgData name="Barnes, Charlie" userId="36117f77-fae6-4fb3-806b-c6a759ac5abb" providerId="ADAL" clId="{1535B24A-D34A-4297-AC47-D907B338BA38}" dt="2024-08-05T20:08:02.891" v="13"/>
        <pc:sldMkLst>
          <pc:docMk/>
          <pc:sldMk cId="2788784130" sldId="2147471216"/>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02.891" v="13"/>
              <pc2:cmMkLst xmlns:pc2="http://schemas.microsoft.com/office/powerpoint/2019/9/main/command">
                <pc:docMk/>
                <pc:sldMk cId="2788784130" sldId="2147471216"/>
                <pc2:cmMk id="{05B7C33A-C5F8-4208-A7CD-1A358B1568F0}"/>
              </pc2:cmMkLst>
            </pc226:cmChg>
          </p:ext>
        </pc:extLst>
      </pc:sldChg>
      <pc:sldChg chg="delCm">
        <pc:chgData name="Barnes, Charlie" userId="36117f77-fae6-4fb3-806b-c6a759ac5abb" providerId="ADAL" clId="{1535B24A-D34A-4297-AC47-D907B338BA38}" dt="2024-08-05T20:07:43.722" v="8"/>
        <pc:sldMkLst>
          <pc:docMk/>
          <pc:sldMk cId="3043142543" sldId="2147471220"/>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7:42.439" v="7"/>
              <pc2:cmMkLst xmlns:pc2="http://schemas.microsoft.com/office/powerpoint/2019/9/main/command">
                <pc:docMk/>
                <pc:sldMk cId="3043142543" sldId="2147471220"/>
                <pc2:cmMk id="{2A302D27-CC73-4C53-883A-E935A7AF7C48}"/>
              </pc2:cmMkLst>
            </pc226:cmChg>
            <pc226:cmChg xmlns:pc226="http://schemas.microsoft.com/office/powerpoint/2022/06/main/command" chg="del">
              <pc226:chgData name="Barnes, Charlie" userId="36117f77-fae6-4fb3-806b-c6a759ac5abb" providerId="ADAL" clId="{1535B24A-D34A-4297-AC47-D907B338BA38}" dt="2024-08-05T20:07:34.970" v="2"/>
              <pc2:cmMkLst xmlns:pc2="http://schemas.microsoft.com/office/powerpoint/2019/9/main/command">
                <pc:docMk/>
                <pc:sldMk cId="3043142543" sldId="2147471220"/>
                <pc2:cmMk id="{9141A548-F991-41EF-9AF3-87E4D2F2B379}"/>
              </pc2:cmMkLst>
            </pc226:cmChg>
            <pc226:cmChg xmlns:pc226="http://schemas.microsoft.com/office/powerpoint/2022/06/main/command" chg="del">
              <pc226:chgData name="Barnes, Charlie" userId="36117f77-fae6-4fb3-806b-c6a759ac5abb" providerId="ADAL" clId="{1535B24A-D34A-4297-AC47-D907B338BA38}" dt="2024-08-05T20:07:43.722" v="8"/>
              <pc2:cmMkLst xmlns:pc2="http://schemas.microsoft.com/office/powerpoint/2019/9/main/command">
                <pc:docMk/>
                <pc:sldMk cId="3043142543" sldId="2147471220"/>
                <pc2:cmMk id="{01D85A5E-A5AE-47BF-B9B0-6304B6E12853}"/>
              </pc2:cmMkLst>
            </pc226:cmChg>
            <pc226:cmChg xmlns:pc226="http://schemas.microsoft.com/office/powerpoint/2022/06/main/command" chg="del">
              <pc226:chgData name="Barnes, Charlie" userId="36117f77-fae6-4fb3-806b-c6a759ac5abb" providerId="ADAL" clId="{1535B24A-D34A-4297-AC47-D907B338BA38}" dt="2024-08-05T20:07:39.432" v="5"/>
              <pc2:cmMkLst xmlns:pc2="http://schemas.microsoft.com/office/powerpoint/2019/9/main/command">
                <pc:docMk/>
                <pc:sldMk cId="3043142543" sldId="2147471220"/>
                <pc2:cmMk id="{7C794663-77A4-4D67-A72E-6DC65303FA9F}"/>
              </pc2:cmMkLst>
            </pc226:cmChg>
            <pc226:cmChg xmlns:pc226="http://schemas.microsoft.com/office/powerpoint/2022/06/main/command" chg="del">
              <pc226:chgData name="Barnes, Charlie" userId="36117f77-fae6-4fb3-806b-c6a759ac5abb" providerId="ADAL" clId="{1535B24A-D34A-4297-AC47-D907B338BA38}" dt="2024-08-05T20:07:38.006" v="4"/>
              <pc2:cmMkLst xmlns:pc2="http://schemas.microsoft.com/office/powerpoint/2019/9/main/command">
                <pc:docMk/>
                <pc:sldMk cId="3043142543" sldId="2147471220"/>
                <pc2:cmMk id="{75693673-56E3-4ECC-A44A-B56524B98DD5}"/>
              </pc2:cmMkLst>
            </pc226:cmChg>
            <pc226:cmChg xmlns:pc226="http://schemas.microsoft.com/office/powerpoint/2022/06/main/command" chg="del">
              <pc226:chgData name="Barnes, Charlie" userId="36117f77-fae6-4fb3-806b-c6a759ac5abb" providerId="ADAL" clId="{1535B24A-D34A-4297-AC47-D907B338BA38}" dt="2024-08-05T20:07:36.494" v="3"/>
              <pc2:cmMkLst xmlns:pc2="http://schemas.microsoft.com/office/powerpoint/2019/9/main/command">
                <pc:docMk/>
                <pc:sldMk cId="3043142543" sldId="2147471220"/>
                <pc2:cmMk id="{997E7AAA-D20B-40C3-853D-8967A1A14411}"/>
              </pc2:cmMkLst>
            </pc226:cmChg>
            <pc226:cmChg xmlns:pc226="http://schemas.microsoft.com/office/powerpoint/2022/06/main/command" chg="del">
              <pc226:chgData name="Barnes, Charlie" userId="36117f77-fae6-4fb3-806b-c6a759ac5abb" providerId="ADAL" clId="{1535B24A-D34A-4297-AC47-D907B338BA38}" dt="2024-08-05T20:07:41.069" v="6"/>
              <pc2:cmMkLst xmlns:pc2="http://schemas.microsoft.com/office/powerpoint/2019/9/main/command">
                <pc:docMk/>
                <pc:sldMk cId="3043142543" sldId="2147471220"/>
                <pc2:cmMk id="{2A8268CE-5472-4C04-BD15-1E1AE80A00FF}"/>
              </pc2:cmMkLst>
            </pc226:cmChg>
          </p:ext>
        </pc:extLst>
      </pc:sldChg>
      <pc:sldChg chg="delCm">
        <pc:chgData name="Barnes, Charlie" userId="36117f77-fae6-4fb3-806b-c6a759ac5abb" providerId="ADAL" clId="{1535B24A-D34A-4297-AC47-D907B338BA38}" dt="2024-08-05T20:08:33.602" v="23"/>
        <pc:sldMkLst>
          <pc:docMk/>
          <pc:sldMk cId="1950860068" sldId="2147471223"/>
        </pc:sldMkLst>
        <pc:extLst>
          <p:ext xmlns:p="http://schemas.openxmlformats.org/presentationml/2006/main" uri="{D6D511B9-2390-475A-947B-AFAB55BFBCF1}">
            <pc226:cmChg xmlns:pc226="http://schemas.microsoft.com/office/powerpoint/2022/06/main/command" chg="del">
              <pc226:chgData name="Barnes, Charlie" userId="36117f77-fae6-4fb3-806b-c6a759ac5abb" providerId="ADAL" clId="{1535B24A-D34A-4297-AC47-D907B338BA38}" dt="2024-08-05T20:08:33.602" v="23"/>
              <pc2:cmMkLst xmlns:pc2="http://schemas.microsoft.com/office/powerpoint/2019/9/main/command">
                <pc:docMk/>
                <pc:sldMk cId="1950860068" sldId="2147471223"/>
                <pc2:cmMk id="{EE649D74-96C8-49BA-83E9-6F2125A5FD86}"/>
              </pc2:cmMkLst>
            </pc226:cmChg>
          </p:ext>
        </pc:extLst>
      </pc:sldChg>
    </pc:docChg>
  </pc:docChgLst>
  <pc:docChgLst>
    <pc:chgData name="Barnes, Charlie" userId="36117f77-fae6-4fb3-806b-c6a759ac5abb" providerId="ADAL" clId="{A742C20C-F491-48A5-A623-4756A7634A45}"/>
    <pc:docChg chg="undo custSel addSld delSld modSld sldOrd">
      <pc:chgData name="Barnes, Charlie" userId="36117f77-fae6-4fb3-806b-c6a759ac5abb" providerId="ADAL" clId="{A742C20C-F491-48A5-A623-4756A7634A45}" dt="2024-08-02T13:48:48.041" v="891" actId="403"/>
      <pc:docMkLst>
        <pc:docMk/>
      </pc:docMkLst>
      <pc:sldChg chg="modSp mod modCm">
        <pc:chgData name="Barnes, Charlie" userId="36117f77-fae6-4fb3-806b-c6a759ac5abb" providerId="ADAL" clId="{A742C20C-F491-48A5-A623-4756A7634A45}" dt="2024-08-02T13:27:50.351" v="386" actId="20577"/>
        <pc:sldMkLst>
          <pc:docMk/>
          <pc:sldMk cId="817516290" sldId="378"/>
        </pc:sldMkLst>
        <pc:spChg chg="mod">
          <ac:chgData name="Barnes, Charlie" userId="36117f77-fae6-4fb3-806b-c6a759ac5abb" providerId="ADAL" clId="{A742C20C-F491-48A5-A623-4756A7634A45}" dt="2024-08-02T13:18:03.412" v="0" actId="2711"/>
          <ac:spMkLst>
            <pc:docMk/>
            <pc:sldMk cId="817516290" sldId="378"/>
            <ac:spMk id="2" creationId="{4657E047-2582-133B-6B45-C6F76C520C4B}"/>
          </ac:spMkLst>
        </pc:spChg>
        <pc:spChg chg="mod">
          <ac:chgData name="Barnes, Charlie" userId="36117f77-fae6-4fb3-806b-c6a759ac5abb" providerId="ADAL" clId="{A742C20C-F491-48A5-A623-4756A7634A45}" dt="2024-08-02T13:18:55.315" v="54" actId="1035"/>
          <ac:spMkLst>
            <pc:docMk/>
            <pc:sldMk cId="817516290" sldId="378"/>
            <ac:spMk id="7" creationId="{99DBD627-BA57-4A2D-2B6E-7B39F8532A95}"/>
          </ac:spMkLst>
        </pc:spChg>
        <pc:spChg chg="mod">
          <ac:chgData name="Barnes, Charlie" userId="36117f77-fae6-4fb3-806b-c6a759ac5abb" providerId="ADAL" clId="{A742C20C-F491-48A5-A623-4756A7634A45}" dt="2024-08-02T13:18:55.315" v="54" actId="1035"/>
          <ac:spMkLst>
            <pc:docMk/>
            <pc:sldMk cId="817516290" sldId="378"/>
            <ac:spMk id="8" creationId="{EB20B19C-3529-F22B-8605-00B4A615DB48}"/>
          </ac:spMkLst>
        </pc:spChg>
        <pc:spChg chg="mod">
          <ac:chgData name="Barnes, Charlie" userId="36117f77-fae6-4fb3-806b-c6a759ac5abb" providerId="ADAL" clId="{A742C20C-F491-48A5-A623-4756A7634A45}" dt="2024-08-02T13:18:55.315" v="54" actId="1035"/>
          <ac:spMkLst>
            <pc:docMk/>
            <pc:sldMk cId="817516290" sldId="378"/>
            <ac:spMk id="9" creationId="{9197E5F4-99C3-7A40-E2CA-A4CDF2DF8D8E}"/>
          </ac:spMkLst>
        </pc:spChg>
        <pc:spChg chg="mod">
          <ac:chgData name="Barnes, Charlie" userId="36117f77-fae6-4fb3-806b-c6a759ac5abb" providerId="ADAL" clId="{A742C20C-F491-48A5-A623-4756A7634A45}" dt="2024-08-02T13:18:55.315" v="54" actId="1035"/>
          <ac:spMkLst>
            <pc:docMk/>
            <pc:sldMk cId="817516290" sldId="378"/>
            <ac:spMk id="10" creationId="{99D17514-6618-F1E7-8BBF-F22873F879BD}"/>
          </ac:spMkLst>
        </pc:spChg>
        <pc:spChg chg="mod">
          <ac:chgData name="Barnes, Charlie" userId="36117f77-fae6-4fb3-806b-c6a759ac5abb" providerId="ADAL" clId="{A742C20C-F491-48A5-A623-4756A7634A45}" dt="2024-08-02T13:18:55.315" v="54" actId="1035"/>
          <ac:spMkLst>
            <pc:docMk/>
            <pc:sldMk cId="817516290" sldId="378"/>
            <ac:spMk id="11" creationId="{48711669-40D9-E0B8-63CD-4355A49724F6}"/>
          </ac:spMkLst>
        </pc:spChg>
        <pc:spChg chg="mod">
          <ac:chgData name="Barnes, Charlie" userId="36117f77-fae6-4fb3-806b-c6a759ac5abb" providerId="ADAL" clId="{A742C20C-F491-48A5-A623-4756A7634A45}" dt="2024-08-02T13:19:02.017" v="56" actId="1076"/>
          <ac:spMkLst>
            <pc:docMk/>
            <pc:sldMk cId="817516290" sldId="378"/>
            <ac:spMk id="12" creationId="{463B19EB-3095-7E57-AB5B-D290DBD0FB2A}"/>
          </ac:spMkLst>
        </pc:spChg>
        <pc:spChg chg="mod">
          <ac:chgData name="Barnes, Charlie" userId="36117f77-fae6-4fb3-806b-c6a759ac5abb" providerId="ADAL" clId="{A742C20C-F491-48A5-A623-4756A7634A45}" dt="2024-08-02T13:18:55.315" v="54" actId="1035"/>
          <ac:spMkLst>
            <pc:docMk/>
            <pc:sldMk cId="817516290" sldId="378"/>
            <ac:spMk id="13" creationId="{BEB79004-2F97-78B1-C4E8-0A5F3412CBFF}"/>
          </ac:spMkLst>
        </pc:spChg>
        <pc:spChg chg="mod">
          <ac:chgData name="Barnes, Charlie" userId="36117f77-fae6-4fb3-806b-c6a759ac5abb" providerId="ADAL" clId="{A742C20C-F491-48A5-A623-4756A7634A45}" dt="2024-08-02T13:18:55.315" v="54" actId="1035"/>
          <ac:spMkLst>
            <pc:docMk/>
            <pc:sldMk cId="817516290" sldId="378"/>
            <ac:spMk id="14" creationId="{0D4F7738-9B5E-8CFC-B3F5-D77239484FDF}"/>
          </ac:spMkLst>
        </pc:spChg>
        <pc:spChg chg="mod">
          <ac:chgData name="Barnes, Charlie" userId="36117f77-fae6-4fb3-806b-c6a759ac5abb" providerId="ADAL" clId="{A742C20C-F491-48A5-A623-4756A7634A45}" dt="2024-08-02T13:18:55.315" v="54" actId="1035"/>
          <ac:spMkLst>
            <pc:docMk/>
            <pc:sldMk cId="817516290" sldId="378"/>
            <ac:spMk id="15" creationId="{603BFBBE-FB7C-C102-F32F-9BE03BAD9D90}"/>
          </ac:spMkLst>
        </pc:spChg>
        <pc:spChg chg="mod">
          <ac:chgData name="Barnes, Charlie" userId="36117f77-fae6-4fb3-806b-c6a759ac5abb" providerId="ADAL" clId="{A742C20C-F491-48A5-A623-4756A7634A45}" dt="2024-08-02T13:18:55.315" v="54" actId="1035"/>
          <ac:spMkLst>
            <pc:docMk/>
            <pc:sldMk cId="817516290" sldId="378"/>
            <ac:spMk id="16" creationId="{948F0045-A00C-E233-3E7E-549A0DA14B48}"/>
          </ac:spMkLst>
        </pc:spChg>
        <pc:spChg chg="mod">
          <ac:chgData name="Barnes, Charlie" userId="36117f77-fae6-4fb3-806b-c6a759ac5abb" providerId="ADAL" clId="{A742C20C-F491-48A5-A623-4756A7634A45}" dt="2024-08-02T13:18:03.412" v="0" actId="2711"/>
          <ac:spMkLst>
            <pc:docMk/>
            <pc:sldMk cId="817516290" sldId="378"/>
            <ac:spMk id="18" creationId="{D482554F-BF9E-EAC4-87B0-FC74D9FADCAF}"/>
          </ac:spMkLst>
        </pc:spChg>
        <pc:spChg chg="mod">
          <ac:chgData name="Barnes, Charlie" userId="36117f77-fae6-4fb3-806b-c6a759ac5abb" providerId="ADAL" clId="{A742C20C-F491-48A5-A623-4756A7634A45}" dt="2024-08-02T13:19:25.466" v="62" actId="1035"/>
          <ac:spMkLst>
            <pc:docMk/>
            <pc:sldMk cId="817516290" sldId="378"/>
            <ac:spMk id="20" creationId="{0A9966B0-4EBE-3E2B-8BA9-4DA173072DD5}"/>
          </ac:spMkLst>
        </pc:spChg>
        <pc:spChg chg="mod">
          <ac:chgData name="Barnes, Charlie" userId="36117f77-fae6-4fb3-806b-c6a759ac5abb" providerId="ADAL" clId="{A742C20C-F491-48A5-A623-4756A7634A45}" dt="2024-08-02T13:18:03.412" v="0" actId="2711"/>
          <ac:spMkLst>
            <pc:docMk/>
            <pc:sldMk cId="817516290" sldId="378"/>
            <ac:spMk id="22" creationId="{D0B31AF0-D354-DDD1-2266-E7A5D1661786}"/>
          </ac:spMkLst>
        </pc:spChg>
        <pc:spChg chg="mod">
          <ac:chgData name="Barnes, Charlie" userId="36117f77-fae6-4fb3-806b-c6a759ac5abb" providerId="ADAL" clId="{A742C20C-F491-48A5-A623-4756A7634A45}" dt="2024-08-02T13:18:55.315" v="54" actId="1035"/>
          <ac:spMkLst>
            <pc:docMk/>
            <pc:sldMk cId="817516290" sldId="378"/>
            <ac:spMk id="24" creationId="{AB3AC706-4FE9-D27F-C5A5-AC2D13CB674F}"/>
          </ac:spMkLst>
        </pc:spChg>
        <pc:spChg chg="mod">
          <ac:chgData name="Barnes, Charlie" userId="36117f77-fae6-4fb3-806b-c6a759ac5abb" providerId="ADAL" clId="{A742C20C-F491-48A5-A623-4756A7634A45}" dt="2024-08-02T13:18:55.315" v="54" actId="1035"/>
          <ac:spMkLst>
            <pc:docMk/>
            <pc:sldMk cId="817516290" sldId="378"/>
            <ac:spMk id="29" creationId="{30742ECD-4034-1399-38D8-69979976AB19}"/>
          </ac:spMkLst>
        </pc:spChg>
        <pc:spChg chg="mod">
          <ac:chgData name="Barnes, Charlie" userId="36117f77-fae6-4fb3-806b-c6a759ac5abb" providerId="ADAL" clId="{A742C20C-F491-48A5-A623-4756A7634A45}" dt="2024-08-02T13:27:50.351" v="386" actId="20577"/>
          <ac:spMkLst>
            <pc:docMk/>
            <pc:sldMk cId="817516290" sldId="378"/>
            <ac:spMk id="30" creationId="{AF7E4E8C-88C6-E4E2-FD7C-6FDEAE22FE5B}"/>
          </ac:spMkLst>
        </pc:spChg>
        <pc:spChg chg="mod">
          <ac:chgData name="Barnes, Charlie" userId="36117f77-fae6-4fb3-806b-c6a759ac5abb" providerId="ADAL" clId="{A742C20C-F491-48A5-A623-4756A7634A45}" dt="2024-08-02T13:18:03.412" v="0" actId="2711"/>
          <ac:spMkLst>
            <pc:docMk/>
            <pc:sldMk cId="817516290" sldId="378"/>
            <ac:spMk id="32" creationId="{CC00C775-D58C-1A2E-A695-66620A7AAA54}"/>
          </ac:spMkLst>
        </pc:spChg>
        <pc:spChg chg="mod">
          <ac:chgData name="Barnes, Charlie" userId="36117f77-fae6-4fb3-806b-c6a759ac5abb" providerId="ADAL" clId="{A742C20C-F491-48A5-A623-4756A7634A45}" dt="2024-08-02T13:18:03.412" v="0" actId="2711"/>
          <ac:spMkLst>
            <pc:docMk/>
            <pc:sldMk cId="817516290" sldId="378"/>
            <ac:spMk id="36" creationId="{F345CD0B-B16F-BBD0-DC1F-EBC38D0F8522}"/>
          </ac:spMkLst>
        </pc:spChg>
        <pc:grpChg chg="mod">
          <ac:chgData name="Barnes, Charlie" userId="36117f77-fae6-4fb3-806b-c6a759ac5abb" providerId="ADAL" clId="{A742C20C-F491-48A5-A623-4756A7634A45}" dt="2024-08-02T13:19:08.969" v="58" actId="1076"/>
          <ac:grpSpMkLst>
            <pc:docMk/>
            <pc:sldMk cId="817516290" sldId="378"/>
            <ac:grpSpMk id="17" creationId="{00B906C0-6337-1B99-CFB3-29D94738EADE}"/>
          </ac:grpSpMkLst>
        </pc:grpChg>
        <pc:grpChg chg="mod">
          <ac:chgData name="Barnes, Charlie" userId="36117f77-fae6-4fb3-806b-c6a759ac5abb" providerId="ADAL" clId="{A742C20C-F491-48A5-A623-4756A7634A45}" dt="2024-08-02T13:19:04.976" v="57" actId="1076"/>
          <ac:grpSpMkLst>
            <pc:docMk/>
            <pc:sldMk cId="817516290" sldId="378"/>
            <ac:grpSpMk id="21" creationId="{E1BE74D4-5E74-2B9D-09B4-00FE99CF49C3}"/>
          </ac:grpSpMkLst>
        </pc:grpChg>
        <pc:grpChg chg="mod">
          <ac:chgData name="Barnes, Charlie" userId="36117f77-fae6-4fb3-806b-c6a759ac5abb" providerId="ADAL" clId="{A742C20C-F491-48A5-A623-4756A7634A45}" dt="2024-08-02T13:18:58.203" v="55" actId="1076"/>
          <ac:grpSpMkLst>
            <pc:docMk/>
            <pc:sldMk cId="817516290" sldId="378"/>
            <ac:grpSpMk id="31" creationId="{080D5E93-DCB8-E8A3-1338-E5072279DAC8}"/>
          </ac:grpSpMkLst>
        </pc:grpChg>
        <pc:picChg chg="mod">
          <ac:chgData name="Barnes, Charlie" userId="36117f77-fae6-4fb3-806b-c6a759ac5abb" providerId="ADAL" clId="{A742C20C-F491-48A5-A623-4756A7634A45}" dt="2024-08-02T13:19:25.466" v="62" actId="1035"/>
          <ac:picMkLst>
            <pc:docMk/>
            <pc:sldMk cId="817516290" sldId="378"/>
            <ac:picMk id="26" creationId="{46BCD66F-5815-712B-6755-4267AD9D1411}"/>
          </ac:picMkLst>
        </pc:picChg>
        <pc:cxnChg chg="mod">
          <ac:chgData name="Barnes, Charlie" userId="36117f77-fae6-4fb3-806b-c6a759ac5abb" providerId="ADAL" clId="{A742C20C-F491-48A5-A623-4756A7634A45}" dt="2024-08-02T13:18:55.315" v="54" actId="1035"/>
          <ac:cxnSpMkLst>
            <pc:docMk/>
            <pc:sldMk cId="817516290" sldId="378"/>
            <ac:cxnSpMk id="25" creationId="{A6D36B73-5195-7F28-643D-A403C98BAE77}"/>
          </ac:cxnSpMkLst>
        </pc:cxnChg>
        <pc:cxnChg chg="mod">
          <ac:chgData name="Barnes, Charlie" userId="36117f77-fae6-4fb3-806b-c6a759ac5abb" providerId="ADAL" clId="{A742C20C-F491-48A5-A623-4756A7634A45}" dt="2024-08-02T13:18:55.315" v="54" actId="1035"/>
          <ac:cxnSpMkLst>
            <pc:docMk/>
            <pc:sldMk cId="817516290" sldId="378"/>
            <ac:cxnSpMk id="27" creationId="{549E202E-9FB5-EA67-68C0-433810B2E069}"/>
          </ac:cxnSpMkLst>
        </pc:cxnChg>
        <pc:cxnChg chg="mod">
          <ac:chgData name="Barnes, Charlie" userId="36117f77-fae6-4fb3-806b-c6a759ac5abb" providerId="ADAL" clId="{A742C20C-F491-48A5-A623-4756A7634A45}" dt="2024-08-02T13:18:55.315" v="54" actId="1035"/>
          <ac:cxnSpMkLst>
            <pc:docMk/>
            <pc:sldMk cId="817516290" sldId="378"/>
            <ac:cxnSpMk id="28" creationId="{A4910336-D80B-275F-6758-1B41EF87624A}"/>
          </ac:cxnSpMkLst>
        </pc:cxn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27:50.351" v="386" actId="20577"/>
              <pc2:cmMkLst xmlns:pc2="http://schemas.microsoft.com/office/powerpoint/2019/9/main/command">
                <pc:docMk/>
                <pc:sldMk cId="817516290" sldId="378"/>
                <pc2:cmMk id="{66696420-2C52-4857-A6C1-E7972FFF4BA1}"/>
              </pc2:cmMkLst>
              <pc226:cmRplyChg chg="add">
                <pc226:chgData name="Barnes, Charlie" userId="36117f77-fae6-4fb3-806b-c6a759ac5abb" providerId="ADAL" clId="{A742C20C-F491-48A5-A623-4756A7634A45}" dt="2024-08-02T13:18:44.640" v="40"/>
                <pc2:cmRplyMkLst xmlns:pc2="http://schemas.microsoft.com/office/powerpoint/2019/9/main/command">
                  <pc:docMk/>
                  <pc:sldMk cId="817516290" sldId="378"/>
                  <pc2:cmMk id="{66696420-2C52-4857-A6C1-E7972FFF4BA1}"/>
                  <pc2:cmRplyMk id="{16DC3045-FAAF-4A01-B041-DB11A1AAFABB}"/>
                </pc2:cmRplyMkLst>
              </pc226:cmRplyChg>
            </pc226:cmChg>
            <pc226:cmChg xmlns:pc226="http://schemas.microsoft.com/office/powerpoint/2022/06/main/command" chg="mod">
              <pc226:chgData name="Barnes, Charlie" userId="36117f77-fae6-4fb3-806b-c6a759ac5abb" providerId="ADAL" clId="{A742C20C-F491-48A5-A623-4756A7634A45}" dt="2024-08-02T13:27:50.351" v="386" actId="20577"/>
              <pc2:cmMkLst xmlns:pc2="http://schemas.microsoft.com/office/powerpoint/2019/9/main/command">
                <pc:docMk/>
                <pc:sldMk cId="817516290" sldId="378"/>
                <pc2:cmMk id="{FB218473-6F03-416E-A1DE-1EA0883B415C}"/>
              </pc2:cmMkLst>
              <pc226:cmRplyChg chg="add">
                <pc226:chgData name="Barnes, Charlie" userId="36117f77-fae6-4fb3-806b-c6a759ac5abb" providerId="ADAL" clId="{A742C20C-F491-48A5-A623-4756A7634A45}" dt="2024-08-02T13:18:47.473" v="41"/>
                <pc2:cmRplyMkLst xmlns:pc2="http://schemas.microsoft.com/office/powerpoint/2019/9/main/command">
                  <pc:docMk/>
                  <pc:sldMk cId="817516290" sldId="378"/>
                  <pc2:cmMk id="{FB218473-6F03-416E-A1DE-1EA0883B415C}"/>
                  <pc2:cmRplyMk id="{693A7172-99A6-4A0B-9C7E-C42EA4CD7B03}"/>
                </pc2:cmRplyMkLst>
              </pc226:cmRplyChg>
            </pc226:cmChg>
          </p:ext>
        </pc:extLst>
      </pc:sldChg>
      <pc:sldChg chg="modSp mod modCm">
        <pc:chgData name="Barnes, Charlie" userId="36117f77-fae6-4fb3-806b-c6a759ac5abb" providerId="ADAL" clId="{A742C20C-F491-48A5-A623-4756A7634A45}" dt="2024-08-02T13:28:08.386" v="395"/>
        <pc:sldMkLst>
          <pc:docMk/>
          <pc:sldMk cId="2840105678" sldId="379"/>
        </pc:sldMkLst>
        <pc:spChg chg="mod">
          <ac:chgData name="Barnes, Charlie" userId="36117f77-fae6-4fb3-806b-c6a759ac5abb" providerId="ADAL" clId="{A742C20C-F491-48A5-A623-4756A7634A45}" dt="2024-08-02T13:28:03.949" v="394" actId="20577"/>
          <ac:spMkLst>
            <pc:docMk/>
            <pc:sldMk cId="2840105678" sldId="379"/>
            <ac:spMk id="49" creationId="{45017346-11A6-4770-CEFD-0EA881FAAB06}"/>
          </ac:spMkLst>
        </pc:sp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28:08.386" v="395"/>
              <pc2:cmMkLst xmlns:pc2="http://schemas.microsoft.com/office/powerpoint/2019/9/main/command">
                <pc:docMk/>
                <pc:sldMk cId="2840105678" sldId="379"/>
                <pc2:cmMk id="{C8F3C8FF-65F6-41B9-BDAD-F1FC51BC0E82}"/>
              </pc2:cmMkLst>
              <pc226:cmRplyChg chg="add">
                <pc226:chgData name="Barnes, Charlie" userId="36117f77-fae6-4fb3-806b-c6a759ac5abb" providerId="ADAL" clId="{A742C20C-F491-48A5-A623-4756A7634A45}" dt="2024-08-02T13:28:08.386" v="395"/>
                <pc2:cmRplyMkLst xmlns:pc2="http://schemas.microsoft.com/office/powerpoint/2019/9/main/command">
                  <pc:docMk/>
                  <pc:sldMk cId="2840105678" sldId="379"/>
                  <pc2:cmMk id="{C8F3C8FF-65F6-41B9-BDAD-F1FC51BC0E82}"/>
                  <pc2:cmRplyMk id="{D4F953B7-3C8C-43EA-905C-BD8EE7A4A874}"/>
                </pc2:cmRplyMkLst>
              </pc226:cmRplyChg>
            </pc226:cmChg>
          </p:ext>
        </pc:extLst>
      </pc:sldChg>
      <pc:sldChg chg="modSp mod">
        <pc:chgData name="Barnes, Charlie" userId="36117f77-fae6-4fb3-806b-c6a759ac5abb" providerId="ADAL" clId="{A742C20C-F491-48A5-A623-4756A7634A45}" dt="2024-08-02T13:47:10.495" v="873" actId="14734"/>
        <pc:sldMkLst>
          <pc:docMk/>
          <pc:sldMk cId="1006982493" sldId="381"/>
        </pc:sldMkLst>
        <pc:graphicFrameChg chg="mod modGraphic">
          <ac:chgData name="Barnes, Charlie" userId="36117f77-fae6-4fb3-806b-c6a759ac5abb" providerId="ADAL" clId="{A742C20C-F491-48A5-A623-4756A7634A45}" dt="2024-08-02T13:47:10.495" v="873" actId="14734"/>
          <ac:graphicFrameMkLst>
            <pc:docMk/>
            <pc:sldMk cId="1006982493" sldId="381"/>
            <ac:graphicFrameMk id="4" creationId="{44D2F438-CF21-41E2-96C3-F17D3AAFEBC3}"/>
          </ac:graphicFrameMkLst>
        </pc:graphicFrameChg>
      </pc:sldChg>
      <pc:sldChg chg="modSp mod">
        <pc:chgData name="Barnes, Charlie" userId="36117f77-fae6-4fb3-806b-c6a759ac5abb" providerId="ADAL" clId="{A742C20C-F491-48A5-A623-4756A7634A45}" dt="2024-08-02T13:47:19.705" v="875" actId="404"/>
        <pc:sldMkLst>
          <pc:docMk/>
          <pc:sldMk cId="1516830789" sldId="382"/>
        </pc:sldMkLst>
        <pc:graphicFrameChg chg="modGraphic">
          <ac:chgData name="Barnes, Charlie" userId="36117f77-fae6-4fb3-806b-c6a759ac5abb" providerId="ADAL" clId="{A742C20C-F491-48A5-A623-4756A7634A45}" dt="2024-08-02T13:47:19.705" v="875" actId="404"/>
          <ac:graphicFrameMkLst>
            <pc:docMk/>
            <pc:sldMk cId="1516830789" sldId="382"/>
            <ac:graphicFrameMk id="3" creationId="{BD4C38A6-F791-2AED-E661-5CFCEF9E13B9}"/>
          </ac:graphicFrameMkLst>
        </pc:graphicFrameChg>
      </pc:sldChg>
      <pc:sldChg chg="modSp add del mod ord modCm">
        <pc:chgData name="Barnes, Charlie" userId="36117f77-fae6-4fb3-806b-c6a759ac5abb" providerId="ADAL" clId="{A742C20C-F491-48A5-A623-4756A7634A45}" dt="2024-08-02T13:34:39.116" v="469"/>
        <pc:sldMkLst>
          <pc:docMk/>
          <pc:sldMk cId="391724550" sldId="386"/>
        </pc:sldMkLst>
        <pc:spChg chg="mod">
          <ac:chgData name="Barnes, Charlie" userId="36117f77-fae6-4fb3-806b-c6a759ac5abb" providerId="ADAL" clId="{A742C20C-F491-48A5-A623-4756A7634A45}" dt="2024-08-02T13:29:19.914" v="432" actId="27636"/>
          <ac:spMkLst>
            <pc:docMk/>
            <pc:sldMk cId="391724550" sldId="386"/>
            <ac:spMk id="2" creationId="{4657E047-2582-133B-6B45-C6F76C520C4B}"/>
          </ac:spMkLst>
        </pc:spChg>
        <pc:spChg chg="mod">
          <ac:chgData name="Barnes, Charlie" userId="36117f77-fae6-4fb3-806b-c6a759ac5abb" providerId="ADAL" clId="{A742C20C-F491-48A5-A623-4756A7634A45}" dt="2024-08-02T13:29:19.914" v="432" actId="27636"/>
          <ac:spMkLst>
            <pc:docMk/>
            <pc:sldMk cId="391724550" sldId="386"/>
            <ac:spMk id="6" creationId="{84AEE208-2228-9A04-BC68-B0695A027B66}"/>
          </ac:spMkLst>
        </pc:spChg>
        <pc:spChg chg="mod">
          <ac:chgData name="Barnes, Charlie" userId="36117f77-fae6-4fb3-806b-c6a759ac5abb" providerId="ADAL" clId="{A742C20C-F491-48A5-A623-4756A7634A45}" dt="2024-08-02T13:29:19.914" v="432" actId="27636"/>
          <ac:spMkLst>
            <pc:docMk/>
            <pc:sldMk cId="391724550" sldId="386"/>
            <ac:spMk id="17" creationId="{8028C420-44BC-80BF-9162-A9049647A901}"/>
          </ac:spMkLst>
        </pc:spChg>
        <pc:spChg chg="mod">
          <ac:chgData name="Barnes, Charlie" userId="36117f77-fae6-4fb3-806b-c6a759ac5abb" providerId="ADAL" clId="{A742C20C-F491-48A5-A623-4756A7634A45}" dt="2024-08-02T13:29:19.914" v="432" actId="27636"/>
          <ac:spMkLst>
            <pc:docMk/>
            <pc:sldMk cId="391724550" sldId="386"/>
            <ac:spMk id="21" creationId="{818991A8-4B3A-9E8B-925A-F845BCE03F6D}"/>
          </ac:spMkLst>
        </pc:spChg>
        <pc:spChg chg="mod">
          <ac:chgData name="Barnes, Charlie" userId="36117f77-fae6-4fb3-806b-c6a759ac5abb" providerId="ADAL" clId="{A742C20C-F491-48A5-A623-4756A7634A45}" dt="2024-08-02T13:29:19.914" v="432" actId="27636"/>
          <ac:spMkLst>
            <pc:docMk/>
            <pc:sldMk cId="391724550" sldId="386"/>
            <ac:spMk id="31" creationId="{6C5CCE13-8369-3AC3-FDE1-394139271284}"/>
          </ac:spMkLst>
        </pc:spChg>
        <pc:spChg chg="mod">
          <ac:chgData name="Barnes, Charlie" userId="36117f77-fae6-4fb3-806b-c6a759ac5abb" providerId="ADAL" clId="{A742C20C-F491-48A5-A623-4756A7634A45}" dt="2024-08-02T13:29:19.914" v="432" actId="27636"/>
          <ac:spMkLst>
            <pc:docMk/>
            <pc:sldMk cId="391724550" sldId="386"/>
            <ac:spMk id="32" creationId="{17CBF0CA-2797-338F-5A75-CFA63CC93D50}"/>
          </ac:spMkLst>
        </pc:spChg>
        <pc:spChg chg="mod">
          <ac:chgData name="Barnes, Charlie" userId="36117f77-fae6-4fb3-806b-c6a759ac5abb" providerId="ADAL" clId="{A742C20C-F491-48A5-A623-4756A7634A45}" dt="2024-08-02T13:29:19.861" v="431" actId="404"/>
          <ac:spMkLst>
            <pc:docMk/>
            <pc:sldMk cId="391724550" sldId="386"/>
            <ac:spMk id="33" creationId="{F7B4BF86-ACAE-EA44-9862-43E8B85D622A}"/>
          </ac:spMkLst>
        </pc:spChg>
        <pc:spChg chg="mod">
          <ac:chgData name="Barnes, Charlie" userId="36117f77-fae6-4fb3-806b-c6a759ac5abb" providerId="ADAL" clId="{A742C20C-F491-48A5-A623-4756A7634A45}" dt="2024-08-02T13:29:19.861" v="431" actId="404"/>
          <ac:spMkLst>
            <pc:docMk/>
            <pc:sldMk cId="391724550" sldId="386"/>
            <ac:spMk id="34" creationId="{BDB745B2-6C06-ECBA-F71C-7A7095A9D72A}"/>
          </ac:spMkLst>
        </pc:spChg>
        <pc:spChg chg="mod">
          <ac:chgData name="Barnes, Charlie" userId="36117f77-fae6-4fb3-806b-c6a759ac5abb" providerId="ADAL" clId="{A742C20C-F491-48A5-A623-4756A7634A45}" dt="2024-08-02T13:29:19.914" v="432" actId="27636"/>
          <ac:spMkLst>
            <pc:docMk/>
            <pc:sldMk cId="391724550" sldId="386"/>
            <ac:spMk id="35" creationId="{F1F239BC-9545-AF9B-9246-A4D9B1F71CA3}"/>
          </ac:spMkLst>
        </pc:spChg>
        <pc:spChg chg="mod">
          <ac:chgData name="Barnes, Charlie" userId="36117f77-fae6-4fb3-806b-c6a759ac5abb" providerId="ADAL" clId="{A742C20C-F491-48A5-A623-4756A7634A45}" dt="2024-08-02T13:29:19.914" v="432" actId="27636"/>
          <ac:spMkLst>
            <pc:docMk/>
            <pc:sldMk cId="391724550" sldId="386"/>
            <ac:spMk id="36" creationId="{FE4F7089-2493-9973-355E-38434849F1FB}"/>
          </ac:spMkLst>
        </pc:spChg>
        <pc:spChg chg="mod">
          <ac:chgData name="Barnes, Charlie" userId="36117f77-fae6-4fb3-806b-c6a759ac5abb" providerId="ADAL" clId="{A742C20C-F491-48A5-A623-4756A7634A45}" dt="2024-08-02T13:29:19.914" v="432" actId="27636"/>
          <ac:spMkLst>
            <pc:docMk/>
            <pc:sldMk cId="391724550" sldId="386"/>
            <ac:spMk id="41" creationId="{D5E9073E-C8CC-ECA4-D8EC-8638C2BEC617}"/>
          </ac:spMkLst>
        </pc:spChg>
        <pc:spChg chg="mod">
          <ac:chgData name="Barnes, Charlie" userId="36117f77-fae6-4fb3-806b-c6a759ac5abb" providerId="ADAL" clId="{A742C20C-F491-48A5-A623-4756A7634A45}" dt="2024-08-02T13:29:19.861" v="431" actId="404"/>
          <ac:spMkLst>
            <pc:docMk/>
            <pc:sldMk cId="391724550" sldId="386"/>
            <ac:spMk id="81" creationId="{40BCC881-6EA5-3065-884F-C9D9413E2D96}"/>
          </ac:spMkLst>
        </pc:spChg>
        <pc:spChg chg="mod">
          <ac:chgData name="Barnes, Charlie" userId="36117f77-fae6-4fb3-806b-c6a759ac5abb" providerId="ADAL" clId="{A742C20C-F491-48A5-A623-4756A7634A45}" dt="2024-08-02T13:29:19.914" v="432" actId="27636"/>
          <ac:spMkLst>
            <pc:docMk/>
            <pc:sldMk cId="391724550" sldId="386"/>
            <ac:spMk id="95" creationId="{519FFB90-320F-3B91-FEB7-E09CF2056765}"/>
          </ac:spMkLst>
        </pc:spChg>
        <pc:spChg chg="mod">
          <ac:chgData name="Barnes, Charlie" userId="36117f77-fae6-4fb3-806b-c6a759ac5abb" providerId="ADAL" clId="{A742C20C-F491-48A5-A623-4756A7634A45}" dt="2024-08-02T13:29:19.914" v="432" actId="27636"/>
          <ac:spMkLst>
            <pc:docMk/>
            <pc:sldMk cId="391724550" sldId="386"/>
            <ac:spMk id="96" creationId="{C0C7D9C3-EF0B-D02F-D018-1F8CA18F3EE1}"/>
          </ac:spMkLst>
        </pc:spChg>
        <pc:spChg chg="mod">
          <ac:chgData name="Barnes, Charlie" userId="36117f77-fae6-4fb3-806b-c6a759ac5abb" providerId="ADAL" clId="{A742C20C-F491-48A5-A623-4756A7634A45}" dt="2024-08-02T13:29:19.914" v="432" actId="27636"/>
          <ac:spMkLst>
            <pc:docMk/>
            <pc:sldMk cId="391724550" sldId="386"/>
            <ac:spMk id="97" creationId="{B3A4A83C-79F3-F24F-99C0-C6EEE134E488}"/>
          </ac:spMkLst>
        </pc:spChg>
        <pc:spChg chg="mod">
          <ac:chgData name="Barnes, Charlie" userId="36117f77-fae6-4fb3-806b-c6a759ac5abb" providerId="ADAL" clId="{A742C20C-F491-48A5-A623-4756A7634A45}" dt="2024-08-02T13:29:19.914" v="432" actId="27636"/>
          <ac:spMkLst>
            <pc:docMk/>
            <pc:sldMk cId="391724550" sldId="386"/>
            <ac:spMk id="99" creationId="{00577C7E-F749-877C-D85D-10A2F9A2ADE0}"/>
          </ac:spMkLst>
        </pc:spChg>
        <pc:spChg chg="mod">
          <ac:chgData name="Barnes, Charlie" userId="36117f77-fae6-4fb3-806b-c6a759ac5abb" providerId="ADAL" clId="{A742C20C-F491-48A5-A623-4756A7634A45}" dt="2024-08-02T13:29:19.914" v="432" actId="27636"/>
          <ac:spMkLst>
            <pc:docMk/>
            <pc:sldMk cId="391724550" sldId="386"/>
            <ac:spMk id="105" creationId="{D4355767-1B6D-337A-EF67-3B38FCF5B746}"/>
          </ac:spMkLst>
        </pc:spChg>
        <pc:spChg chg="mod">
          <ac:chgData name="Barnes, Charlie" userId="36117f77-fae6-4fb3-806b-c6a759ac5abb" providerId="ADAL" clId="{A742C20C-F491-48A5-A623-4756A7634A45}" dt="2024-08-02T13:29:19.914" v="432" actId="27636"/>
          <ac:spMkLst>
            <pc:docMk/>
            <pc:sldMk cId="391724550" sldId="386"/>
            <ac:spMk id="106" creationId="{E9BC9DAF-B829-8310-6864-CBD1BD4BA1FA}"/>
          </ac:spMkLst>
        </pc:spChg>
        <pc:spChg chg="mod">
          <ac:chgData name="Barnes, Charlie" userId="36117f77-fae6-4fb3-806b-c6a759ac5abb" providerId="ADAL" clId="{A742C20C-F491-48A5-A623-4756A7634A45}" dt="2024-08-02T13:29:19.861" v="431" actId="404"/>
          <ac:spMkLst>
            <pc:docMk/>
            <pc:sldMk cId="391724550" sldId="386"/>
            <ac:spMk id="107" creationId="{E4F381DF-A459-CE58-1A93-E74E253C1BA3}"/>
          </ac:spMkLst>
        </pc:spChg>
        <pc:spChg chg="mod">
          <ac:chgData name="Barnes, Charlie" userId="36117f77-fae6-4fb3-806b-c6a759ac5abb" providerId="ADAL" clId="{A742C20C-F491-48A5-A623-4756A7634A45}" dt="2024-08-02T13:29:19.914" v="432" actId="27636"/>
          <ac:spMkLst>
            <pc:docMk/>
            <pc:sldMk cId="391724550" sldId="386"/>
            <ac:spMk id="111" creationId="{0701FE73-FE21-A84C-D07A-E669D5F383E8}"/>
          </ac:spMkLst>
        </pc:spChg>
        <pc:spChg chg="mod">
          <ac:chgData name="Barnes, Charlie" userId="36117f77-fae6-4fb3-806b-c6a759ac5abb" providerId="ADAL" clId="{A742C20C-F491-48A5-A623-4756A7634A45}" dt="2024-08-02T13:29:19.914" v="432" actId="27636"/>
          <ac:spMkLst>
            <pc:docMk/>
            <pc:sldMk cId="391724550" sldId="386"/>
            <ac:spMk id="113" creationId="{703E3869-077F-E4FA-A89B-B6CAC78348D2}"/>
          </ac:spMkLst>
        </pc:spChg>
        <pc:spChg chg="mod">
          <ac:chgData name="Barnes, Charlie" userId="36117f77-fae6-4fb3-806b-c6a759ac5abb" providerId="ADAL" clId="{A742C20C-F491-48A5-A623-4756A7634A45}" dt="2024-08-02T13:29:19.861" v="431" actId="404"/>
          <ac:spMkLst>
            <pc:docMk/>
            <pc:sldMk cId="391724550" sldId="386"/>
            <ac:spMk id="114" creationId="{9D2EFE72-C770-88D9-A4C5-E6889E143F14}"/>
          </ac:spMkLst>
        </pc:spChg>
        <pc:spChg chg="mod">
          <ac:chgData name="Barnes, Charlie" userId="36117f77-fae6-4fb3-806b-c6a759ac5abb" providerId="ADAL" clId="{A742C20C-F491-48A5-A623-4756A7634A45}" dt="2024-08-02T13:29:55.037" v="454" actId="14100"/>
          <ac:spMkLst>
            <pc:docMk/>
            <pc:sldMk cId="391724550" sldId="386"/>
            <ac:spMk id="115" creationId="{D8281BA8-220D-F756-599A-9BD2A074B0A8}"/>
          </ac:spMkLst>
        </pc:spChg>
        <pc:spChg chg="mod">
          <ac:chgData name="Barnes, Charlie" userId="36117f77-fae6-4fb3-806b-c6a759ac5abb" providerId="ADAL" clId="{A742C20C-F491-48A5-A623-4756A7634A45}" dt="2024-08-02T13:29:19.861" v="431" actId="404"/>
          <ac:spMkLst>
            <pc:docMk/>
            <pc:sldMk cId="391724550" sldId="386"/>
            <ac:spMk id="116" creationId="{0531BB58-1DBA-0BFB-42A1-9AFA6B722608}"/>
          </ac:spMkLst>
        </pc:spChg>
        <pc:spChg chg="mod">
          <ac:chgData name="Barnes, Charlie" userId="36117f77-fae6-4fb3-806b-c6a759ac5abb" providerId="ADAL" clId="{A742C20C-F491-48A5-A623-4756A7634A45}" dt="2024-08-02T13:29:57.549" v="455" actId="14100"/>
          <ac:spMkLst>
            <pc:docMk/>
            <pc:sldMk cId="391724550" sldId="386"/>
            <ac:spMk id="117" creationId="{7AE63A0F-3AAB-E0BB-6D18-A54090306C25}"/>
          </ac:spMkLst>
        </pc:spChg>
        <pc:spChg chg="mod">
          <ac:chgData name="Barnes, Charlie" userId="36117f77-fae6-4fb3-806b-c6a759ac5abb" providerId="ADAL" clId="{A742C20C-F491-48A5-A623-4756A7634A45}" dt="2024-08-02T13:29:19.861" v="431" actId="404"/>
          <ac:spMkLst>
            <pc:docMk/>
            <pc:sldMk cId="391724550" sldId="386"/>
            <ac:spMk id="118" creationId="{541A5DFD-4DD9-BFCE-4A1B-B448CE72254C}"/>
          </ac:spMkLst>
        </pc:spChg>
        <pc:spChg chg="mod">
          <ac:chgData name="Barnes, Charlie" userId="36117f77-fae6-4fb3-806b-c6a759ac5abb" providerId="ADAL" clId="{A742C20C-F491-48A5-A623-4756A7634A45}" dt="2024-08-02T13:29:19.861" v="431" actId="404"/>
          <ac:spMkLst>
            <pc:docMk/>
            <pc:sldMk cId="391724550" sldId="386"/>
            <ac:spMk id="120" creationId="{FB85E852-F3FC-46B6-7A8D-EF4057014794}"/>
          </ac:spMkLst>
        </pc:spChg>
        <pc:spChg chg="mod">
          <ac:chgData name="Barnes, Charlie" userId="36117f77-fae6-4fb3-806b-c6a759ac5abb" providerId="ADAL" clId="{A742C20C-F491-48A5-A623-4756A7634A45}" dt="2024-08-02T13:29:19.861" v="431" actId="404"/>
          <ac:spMkLst>
            <pc:docMk/>
            <pc:sldMk cId="391724550" sldId="386"/>
            <ac:spMk id="121" creationId="{C4744212-BA6B-7AE0-3411-55B554ACD49D}"/>
          </ac:spMkLst>
        </pc:spChg>
        <pc:spChg chg="mod">
          <ac:chgData name="Barnes, Charlie" userId="36117f77-fae6-4fb3-806b-c6a759ac5abb" providerId="ADAL" clId="{A742C20C-F491-48A5-A623-4756A7634A45}" dt="2024-08-02T13:29:19.861" v="431" actId="404"/>
          <ac:spMkLst>
            <pc:docMk/>
            <pc:sldMk cId="391724550" sldId="386"/>
            <ac:spMk id="122" creationId="{CE6FD03F-C3DD-478A-5D56-F4CB4040514F}"/>
          </ac:spMkLst>
        </pc:spChg>
        <pc:spChg chg="mod">
          <ac:chgData name="Barnes, Charlie" userId="36117f77-fae6-4fb3-806b-c6a759ac5abb" providerId="ADAL" clId="{A742C20C-F491-48A5-A623-4756A7634A45}" dt="2024-08-02T13:29:19.861" v="431" actId="404"/>
          <ac:spMkLst>
            <pc:docMk/>
            <pc:sldMk cId="391724550" sldId="386"/>
            <ac:spMk id="123" creationId="{9DCB5E6D-7ABE-402A-AEE7-4E2D1985788E}"/>
          </ac:spMkLst>
        </pc:spChg>
        <pc:spChg chg="mod">
          <ac:chgData name="Barnes, Charlie" userId="36117f77-fae6-4fb3-806b-c6a759ac5abb" providerId="ADAL" clId="{A742C20C-F491-48A5-A623-4756A7634A45}" dt="2024-08-02T13:29:19.914" v="432" actId="27636"/>
          <ac:spMkLst>
            <pc:docMk/>
            <pc:sldMk cId="391724550" sldId="386"/>
            <ac:spMk id="125" creationId="{2ED36764-00EF-2B7C-1F00-7E9E817E172D}"/>
          </ac:spMkLst>
        </pc:spChg>
        <pc:spChg chg="mod">
          <ac:chgData name="Barnes, Charlie" userId="36117f77-fae6-4fb3-806b-c6a759ac5abb" providerId="ADAL" clId="{A742C20C-F491-48A5-A623-4756A7634A45}" dt="2024-08-02T13:29:19.914" v="432" actId="27636"/>
          <ac:spMkLst>
            <pc:docMk/>
            <pc:sldMk cId="391724550" sldId="386"/>
            <ac:spMk id="126" creationId="{52EA9F96-BED5-D15B-82FA-CDEA3E70BD04}"/>
          </ac:spMkLst>
        </pc:spChg>
        <pc:spChg chg="mod">
          <ac:chgData name="Barnes, Charlie" userId="36117f77-fae6-4fb3-806b-c6a759ac5abb" providerId="ADAL" clId="{A742C20C-F491-48A5-A623-4756A7634A45}" dt="2024-08-02T13:29:19.861" v="431" actId="404"/>
          <ac:spMkLst>
            <pc:docMk/>
            <pc:sldMk cId="391724550" sldId="386"/>
            <ac:spMk id="128" creationId="{82983B3B-7BC5-FC54-1CE2-7EC97F0BD391}"/>
          </ac:spMkLst>
        </pc:spChg>
        <pc:spChg chg="mod">
          <ac:chgData name="Barnes, Charlie" userId="36117f77-fae6-4fb3-806b-c6a759ac5abb" providerId="ADAL" clId="{A742C20C-F491-48A5-A623-4756A7634A45}" dt="2024-08-02T13:29:19.861" v="431" actId="404"/>
          <ac:spMkLst>
            <pc:docMk/>
            <pc:sldMk cId="391724550" sldId="386"/>
            <ac:spMk id="129" creationId="{969C5993-BD4D-1A76-8EAC-54FA3CD58804}"/>
          </ac:spMkLst>
        </pc:spChg>
        <pc:spChg chg="mod">
          <ac:chgData name="Barnes, Charlie" userId="36117f77-fae6-4fb3-806b-c6a759ac5abb" providerId="ADAL" clId="{A742C20C-F491-48A5-A623-4756A7634A45}" dt="2024-08-02T13:29:19.861" v="431" actId="404"/>
          <ac:spMkLst>
            <pc:docMk/>
            <pc:sldMk cId="391724550" sldId="386"/>
            <ac:spMk id="130" creationId="{EF12E35E-12B8-C911-78D5-C40B3F8CF4FD}"/>
          </ac:spMkLst>
        </pc:spChg>
        <pc:spChg chg="mod">
          <ac:chgData name="Barnes, Charlie" userId="36117f77-fae6-4fb3-806b-c6a759ac5abb" providerId="ADAL" clId="{A742C20C-F491-48A5-A623-4756A7634A45}" dt="2024-08-02T13:29:19.861" v="431" actId="404"/>
          <ac:spMkLst>
            <pc:docMk/>
            <pc:sldMk cId="391724550" sldId="386"/>
            <ac:spMk id="131" creationId="{0D96B534-EB0B-F7AA-17F6-B5B801CEC199}"/>
          </ac:spMkLst>
        </pc:spChg>
        <pc:spChg chg="mod">
          <ac:chgData name="Barnes, Charlie" userId="36117f77-fae6-4fb3-806b-c6a759ac5abb" providerId="ADAL" clId="{A742C20C-F491-48A5-A623-4756A7634A45}" dt="2024-08-02T13:29:19.861" v="431" actId="404"/>
          <ac:spMkLst>
            <pc:docMk/>
            <pc:sldMk cId="391724550" sldId="386"/>
            <ac:spMk id="132" creationId="{A509BB28-B040-2FAB-8CF4-C0A7118EADC1}"/>
          </ac:spMkLst>
        </pc:spChg>
        <pc:spChg chg="mod">
          <ac:chgData name="Barnes, Charlie" userId="36117f77-fae6-4fb3-806b-c6a759ac5abb" providerId="ADAL" clId="{A742C20C-F491-48A5-A623-4756A7634A45}" dt="2024-08-02T13:29:19.861" v="431" actId="404"/>
          <ac:spMkLst>
            <pc:docMk/>
            <pc:sldMk cId="391724550" sldId="386"/>
            <ac:spMk id="133" creationId="{110C8FF2-13F7-1FC6-A111-6D278A7B377B}"/>
          </ac:spMkLst>
        </pc:spChg>
        <pc:spChg chg="mod">
          <ac:chgData name="Barnes, Charlie" userId="36117f77-fae6-4fb3-806b-c6a759ac5abb" providerId="ADAL" clId="{A742C20C-F491-48A5-A623-4756A7634A45}" dt="2024-08-02T13:29:19.861" v="431" actId="404"/>
          <ac:spMkLst>
            <pc:docMk/>
            <pc:sldMk cId="391724550" sldId="386"/>
            <ac:spMk id="134" creationId="{263DBBDC-2033-1308-7EDD-98FBC8931410}"/>
          </ac:spMkLst>
        </pc:spChg>
        <pc:spChg chg="mod">
          <ac:chgData name="Barnes, Charlie" userId="36117f77-fae6-4fb3-806b-c6a759ac5abb" providerId="ADAL" clId="{A742C20C-F491-48A5-A623-4756A7634A45}" dt="2024-08-02T13:29:19.861" v="431" actId="404"/>
          <ac:spMkLst>
            <pc:docMk/>
            <pc:sldMk cId="391724550" sldId="386"/>
            <ac:spMk id="135" creationId="{62BDBF5B-5D21-6961-577D-64D952866508}"/>
          </ac:spMkLst>
        </pc:spChg>
        <pc:spChg chg="mod">
          <ac:chgData name="Barnes, Charlie" userId="36117f77-fae6-4fb3-806b-c6a759ac5abb" providerId="ADAL" clId="{A742C20C-F491-48A5-A623-4756A7634A45}" dt="2024-08-02T13:29:19.861" v="431" actId="404"/>
          <ac:spMkLst>
            <pc:docMk/>
            <pc:sldMk cId="391724550" sldId="386"/>
            <ac:spMk id="136" creationId="{9F98E596-8112-8898-00CE-A385249537F7}"/>
          </ac:spMkLst>
        </pc:spChg>
        <pc:spChg chg="mod">
          <ac:chgData name="Barnes, Charlie" userId="36117f77-fae6-4fb3-806b-c6a759ac5abb" providerId="ADAL" clId="{A742C20C-F491-48A5-A623-4756A7634A45}" dt="2024-08-02T13:29:19.914" v="432" actId="27636"/>
          <ac:spMkLst>
            <pc:docMk/>
            <pc:sldMk cId="391724550" sldId="386"/>
            <ac:spMk id="137" creationId="{98BBB2CA-D150-7F69-9A83-588354FAA5E0}"/>
          </ac:spMkLst>
        </pc:spChg>
        <pc:spChg chg="mod">
          <ac:chgData name="Barnes, Charlie" userId="36117f77-fae6-4fb3-806b-c6a759ac5abb" providerId="ADAL" clId="{A742C20C-F491-48A5-A623-4756A7634A45}" dt="2024-08-02T13:29:19.861" v="431" actId="404"/>
          <ac:spMkLst>
            <pc:docMk/>
            <pc:sldMk cId="391724550" sldId="386"/>
            <ac:spMk id="139" creationId="{C9385FB8-E04F-9F74-3FB4-2FA506E5F4CA}"/>
          </ac:spMkLst>
        </pc:spChg>
        <pc:spChg chg="mod">
          <ac:chgData name="Barnes, Charlie" userId="36117f77-fae6-4fb3-806b-c6a759ac5abb" providerId="ADAL" clId="{A742C20C-F491-48A5-A623-4756A7634A45}" dt="2024-08-02T13:29:19.861" v="431" actId="404"/>
          <ac:spMkLst>
            <pc:docMk/>
            <pc:sldMk cId="391724550" sldId="386"/>
            <ac:spMk id="140" creationId="{08D20308-CA48-AEE7-0C49-373934DA4639}"/>
          </ac:spMkLst>
        </pc:spChg>
        <pc:spChg chg="mod">
          <ac:chgData name="Barnes, Charlie" userId="36117f77-fae6-4fb3-806b-c6a759ac5abb" providerId="ADAL" clId="{A742C20C-F491-48A5-A623-4756A7634A45}" dt="2024-08-02T13:29:19.861" v="431" actId="404"/>
          <ac:spMkLst>
            <pc:docMk/>
            <pc:sldMk cId="391724550" sldId="386"/>
            <ac:spMk id="141" creationId="{D5A015FB-91B7-D1C6-FD3A-DF26C2F183FA}"/>
          </ac:spMkLst>
        </pc:spChg>
        <pc:spChg chg="mod">
          <ac:chgData name="Barnes, Charlie" userId="36117f77-fae6-4fb3-806b-c6a759ac5abb" providerId="ADAL" clId="{A742C20C-F491-48A5-A623-4756A7634A45}" dt="2024-08-02T13:29:19.861" v="431" actId="404"/>
          <ac:spMkLst>
            <pc:docMk/>
            <pc:sldMk cId="391724550" sldId="386"/>
            <ac:spMk id="142" creationId="{2634880E-61C6-0436-5271-81575A448E5B}"/>
          </ac:spMkLst>
        </pc:spChg>
        <pc:spChg chg="mod">
          <ac:chgData name="Barnes, Charlie" userId="36117f77-fae6-4fb3-806b-c6a759ac5abb" providerId="ADAL" clId="{A742C20C-F491-48A5-A623-4756A7634A45}" dt="2024-08-02T13:29:19.861" v="431" actId="404"/>
          <ac:spMkLst>
            <pc:docMk/>
            <pc:sldMk cId="391724550" sldId="386"/>
            <ac:spMk id="143" creationId="{C1CB3C90-A1EB-EC81-0E76-51E82A19B267}"/>
          </ac:spMkLst>
        </pc:spChg>
        <pc:spChg chg="mod">
          <ac:chgData name="Barnes, Charlie" userId="36117f77-fae6-4fb3-806b-c6a759ac5abb" providerId="ADAL" clId="{A742C20C-F491-48A5-A623-4756A7634A45}" dt="2024-08-02T13:29:19.861" v="431" actId="404"/>
          <ac:spMkLst>
            <pc:docMk/>
            <pc:sldMk cId="391724550" sldId="386"/>
            <ac:spMk id="144" creationId="{ED77153E-6C63-9C49-952E-ECE86321E3F6}"/>
          </ac:spMkLst>
        </pc:spChg>
        <pc:spChg chg="mod">
          <ac:chgData name="Barnes, Charlie" userId="36117f77-fae6-4fb3-806b-c6a759ac5abb" providerId="ADAL" clId="{A742C20C-F491-48A5-A623-4756A7634A45}" dt="2024-08-02T13:29:19.861" v="431" actId="404"/>
          <ac:spMkLst>
            <pc:docMk/>
            <pc:sldMk cId="391724550" sldId="386"/>
            <ac:spMk id="145" creationId="{BB7A388C-9134-58B4-28B0-7556222ACF3D}"/>
          </ac:spMkLst>
        </pc:spChg>
        <pc:spChg chg="mod">
          <ac:chgData name="Barnes, Charlie" userId="36117f77-fae6-4fb3-806b-c6a759ac5abb" providerId="ADAL" clId="{A742C20C-F491-48A5-A623-4756A7634A45}" dt="2024-08-02T13:29:19.861" v="431" actId="404"/>
          <ac:spMkLst>
            <pc:docMk/>
            <pc:sldMk cId="391724550" sldId="386"/>
            <ac:spMk id="146" creationId="{E75CE966-D8A9-EB97-757F-03E868919028}"/>
          </ac:spMkLst>
        </pc:spChg>
        <pc:spChg chg="mod">
          <ac:chgData name="Barnes, Charlie" userId="36117f77-fae6-4fb3-806b-c6a759ac5abb" providerId="ADAL" clId="{A742C20C-F491-48A5-A623-4756A7634A45}" dt="2024-08-02T13:29:19.861" v="431" actId="404"/>
          <ac:spMkLst>
            <pc:docMk/>
            <pc:sldMk cId="391724550" sldId="386"/>
            <ac:spMk id="147" creationId="{AEEAE67A-1F9B-4D4E-E1B5-FC9C00B32462}"/>
          </ac:spMkLst>
        </pc:spChg>
        <pc:spChg chg="mod">
          <ac:chgData name="Barnes, Charlie" userId="36117f77-fae6-4fb3-806b-c6a759ac5abb" providerId="ADAL" clId="{A742C20C-F491-48A5-A623-4756A7634A45}" dt="2024-08-02T13:29:43.946" v="452" actId="20577"/>
          <ac:spMkLst>
            <pc:docMk/>
            <pc:sldMk cId="391724550" sldId="386"/>
            <ac:spMk id="148" creationId="{E165EF45-F2F2-2FB9-A3A6-08E433A95403}"/>
          </ac:spMkLst>
        </pc:spChg>
        <pc:spChg chg="mod">
          <ac:chgData name="Barnes, Charlie" userId="36117f77-fae6-4fb3-806b-c6a759ac5abb" providerId="ADAL" clId="{A742C20C-F491-48A5-A623-4756A7634A45}" dt="2024-08-02T13:29:19.914" v="432" actId="27636"/>
          <ac:spMkLst>
            <pc:docMk/>
            <pc:sldMk cId="391724550" sldId="386"/>
            <ac:spMk id="149" creationId="{D738EAC9-F39D-8F01-411D-6BB63ED6FEC8}"/>
          </ac:spMkLst>
        </pc:spChg>
        <pc:spChg chg="mod">
          <ac:chgData name="Barnes, Charlie" userId="36117f77-fae6-4fb3-806b-c6a759ac5abb" providerId="ADAL" clId="{A742C20C-F491-48A5-A623-4756A7634A45}" dt="2024-08-02T13:29:19.861" v="431" actId="404"/>
          <ac:spMkLst>
            <pc:docMk/>
            <pc:sldMk cId="391724550" sldId="386"/>
            <ac:spMk id="152" creationId="{FBA2593D-5B00-8FA0-05F6-9736EE03D12F}"/>
          </ac:spMkLst>
        </pc:spChg>
        <pc:spChg chg="mod">
          <ac:chgData name="Barnes, Charlie" userId="36117f77-fae6-4fb3-806b-c6a759ac5abb" providerId="ADAL" clId="{A742C20C-F491-48A5-A623-4756A7634A45}" dt="2024-08-02T13:29:19.861" v="431" actId="404"/>
          <ac:spMkLst>
            <pc:docMk/>
            <pc:sldMk cId="391724550" sldId="386"/>
            <ac:spMk id="155" creationId="{C5A7FFE7-A43C-C307-F858-83DC5415EAB9}"/>
          </ac:spMkLst>
        </pc:spChg>
        <pc:grpChg chg="mod">
          <ac:chgData name="Barnes, Charlie" userId="36117f77-fae6-4fb3-806b-c6a759ac5abb" providerId="ADAL" clId="{A742C20C-F491-48A5-A623-4756A7634A45}" dt="2024-08-02T13:29:19.861" v="431" actId="404"/>
          <ac:grpSpMkLst>
            <pc:docMk/>
            <pc:sldMk cId="391724550" sldId="386"/>
            <ac:grpSpMk id="18" creationId="{639E49E5-FC86-EC26-E856-87AD86FB0B90}"/>
          </ac:grpSpMkLst>
        </pc:grpChg>
        <pc:grpChg chg="mod">
          <ac:chgData name="Barnes, Charlie" userId="36117f77-fae6-4fb3-806b-c6a759ac5abb" providerId="ADAL" clId="{A742C20C-F491-48A5-A623-4756A7634A45}" dt="2024-08-02T13:29:19.914" v="432" actId="27636"/>
          <ac:grpSpMkLst>
            <pc:docMk/>
            <pc:sldMk cId="391724550" sldId="386"/>
            <ac:grpSpMk id="83" creationId="{5609021F-69FC-A814-2B85-ED53B63CB84F}"/>
          </ac:grpSpMkLst>
        </pc:grpChg>
        <pc:grpChg chg="mod">
          <ac:chgData name="Barnes, Charlie" userId="36117f77-fae6-4fb3-806b-c6a759ac5abb" providerId="ADAL" clId="{A742C20C-F491-48A5-A623-4756A7634A45}" dt="2024-08-02T13:29:19.861" v="431" actId="404"/>
          <ac:grpSpMkLst>
            <pc:docMk/>
            <pc:sldMk cId="391724550" sldId="386"/>
            <ac:grpSpMk id="103" creationId="{DCA7C81C-3444-05C2-9F7A-CF0695016D16}"/>
          </ac:grpSpMkLst>
        </pc:grpChg>
        <pc:grpChg chg="mod">
          <ac:chgData name="Barnes, Charlie" userId="36117f77-fae6-4fb3-806b-c6a759ac5abb" providerId="ADAL" clId="{A742C20C-F491-48A5-A623-4756A7634A45}" dt="2024-08-02T13:29:19.914" v="432" actId="27636"/>
          <ac:grpSpMkLst>
            <pc:docMk/>
            <pc:sldMk cId="391724550" sldId="386"/>
            <ac:grpSpMk id="108" creationId="{2A46D187-93D6-2651-7DD4-56147E16FFD0}"/>
          </ac:grpSpMkLst>
        </pc:grpChg>
        <pc:grpChg chg="mod">
          <ac:chgData name="Barnes, Charlie" userId="36117f77-fae6-4fb3-806b-c6a759ac5abb" providerId="ADAL" clId="{A742C20C-F491-48A5-A623-4756A7634A45}" dt="2024-08-02T13:29:19.914" v="432" actId="27636"/>
          <ac:grpSpMkLst>
            <pc:docMk/>
            <pc:sldMk cId="391724550" sldId="386"/>
            <ac:grpSpMk id="124" creationId="{94AA79EC-011A-A61E-C8BB-25C55F729EBD}"/>
          </ac:grpSpMkLst>
        </pc:grpChg>
        <pc:grpChg chg="mod">
          <ac:chgData name="Barnes, Charlie" userId="36117f77-fae6-4fb3-806b-c6a759ac5abb" providerId="ADAL" clId="{A742C20C-F491-48A5-A623-4756A7634A45}" dt="2024-08-02T13:29:19.914" v="432" actId="27636"/>
          <ac:grpSpMkLst>
            <pc:docMk/>
            <pc:sldMk cId="391724550" sldId="386"/>
            <ac:grpSpMk id="127" creationId="{B0724292-C89C-7D07-D1BC-5E31CA826EE6}"/>
          </ac:grpSpMkLst>
        </pc:grpChg>
        <pc:grpChg chg="mod">
          <ac:chgData name="Barnes, Charlie" userId="36117f77-fae6-4fb3-806b-c6a759ac5abb" providerId="ADAL" clId="{A742C20C-F491-48A5-A623-4756A7634A45}" dt="2024-08-02T13:29:19.914" v="432" actId="27636"/>
          <ac:grpSpMkLst>
            <pc:docMk/>
            <pc:sldMk cId="391724550" sldId="386"/>
            <ac:grpSpMk id="138" creationId="{D4B721E8-C502-91EB-B0AD-B1087314FEEE}"/>
          </ac:grpSpMkLst>
        </pc:grpChg>
        <pc:grpChg chg="mod">
          <ac:chgData name="Barnes, Charlie" userId="36117f77-fae6-4fb3-806b-c6a759ac5abb" providerId="ADAL" clId="{A742C20C-F491-48A5-A623-4756A7634A45}" dt="2024-08-02T13:29:19.914" v="432" actId="27636"/>
          <ac:grpSpMkLst>
            <pc:docMk/>
            <pc:sldMk cId="391724550" sldId="386"/>
            <ac:grpSpMk id="153" creationId="{037E4CED-6592-E24B-546D-6C22084A631F}"/>
          </ac:grpSpMkLst>
        </pc:grpChg>
        <pc:grpChg chg="mod">
          <ac:chgData name="Barnes, Charlie" userId="36117f77-fae6-4fb3-806b-c6a759ac5abb" providerId="ADAL" clId="{A742C20C-F491-48A5-A623-4756A7634A45}" dt="2024-08-02T13:29:19.914" v="432" actId="27636"/>
          <ac:grpSpMkLst>
            <pc:docMk/>
            <pc:sldMk cId="391724550" sldId="386"/>
            <ac:grpSpMk id="156" creationId="{243C3F4C-4B1C-400D-424B-599E50665031}"/>
          </ac:grpSpMkLst>
        </pc:grpChg>
        <pc:grpChg chg="mod">
          <ac:chgData name="Barnes, Charlie" userId="36117f77-fae6-4fb3-806b-c6a759ac5abb" providerId="ADAL" clId="{A742C20C-F491-48A5-A623-4756A7634A45}" dt="2024-08-02T13:29:19.914" v="432" actId="27636"/>
          <ac:grpSpMkLst>
            <pc:docMk/>
            <pc:sldMk cId="391724550" sldId="386"/>
            <ac:grpSpMk id="160" creationId="{91DB56EC-EC01-D608-9868-2B46B1946BF2}"/>
          </ac:grpSpMkLst>
        </pc:grpChg>
        <pc:picChg chg="mod">
          <ac:chgData name="Barnes, Charlie" userId="36117f77-fae6-4fb3-806b-c6a759ac5abb" providerId="ADAL" clId="{A742C20C-F491-48A5-A623-4756A7634A45}" dt="2024-08-02T13:29:19.914" v="432" actId="27636"/>
          <ac:picMkLst>
            <pc:docMk/>
            <pc:sldMk cId="391724550" sldId="386"/>
            <ac:picMk id="4" creationId="{E1F984FA-92A7-0E76-037B-8FDA0848EF20}"/>
          </ac:picMkLst>
        </pc:picChg>
        <pc:picChg chg="mod">
          <ac:chgData name="Barnes, Charlie" userId="36117f77-fae6-4fb3-806b-c6a759ac5abb" providerId="ADAL" clId="{A742C20C-F491-48A5-A623-4756A7634A45}" dt="2024-08-02T13:29:19.914" v="432" actId="27636"/>
          <ac:picMkLst>
            <pc:docMk/>
            <pc:sldMk cId="391724550" sldId="386"/>
            <ac:picMk id="29" creationId="{720C7D1B-AD3F-E46D-CBDE-38036BB46EFF}"/>
          </ac:picMkLst>
        </pc:picChg>
        <pc:picChg chg="mod">
          <ac:chgData name="Barnes, Charlie" userId="36117f77-fae6-4fb3-806b-c6a759ac5abb" providerId="ADAL" clId="{A742C20C-F491-48A5-A623-4756A7634A45}" dt="2024-08-02T13:29:19.914" v="432" actId="27636"/>
          <ac:picMkLst>
            <pc:docMk/>
            <pc:sldMk cId="391724550" sldId="386"/>
            <ac:picMk id="45" creationId="{D86DB7E3-91A2-743C-B690-3EF3786B8749}"/>
          </ac:picMkLst>
        </pc:picChg>
        <pc:picChg chg="mod">
          <ac:chgData name="Barnes, Charlie" userId="36117f77-fae6-4fb3-806b-c6a759ac5abb" providerId="ADAL" clId="{A742C20C-F491-48A5-A623-4756A7634A45}" dt="2024-08-02T13:29:19.914" v="432" actId="27636"/>
          <ac:picMkLst>
            <pc:docMk/>
            <pc:sldMk cId="391724550" sldId="386"/>
            <ac:picMk id="76" creationId="{5F23C074-C380-F282-0C26-F707FB7C146D}"/>
          </ac:picMkLst>
        </pc:picChg>
        <pc:picChg chg="mod">
          <ac:chgData name="Barnes, Charlie" userId="36117f77-fae6-4fb3-806b-c6a759ac5abb" providerId="ADAL" clId="{A742C20C-F491-48A5-A623-4756A7634A45}" dt="2024-08-02T13:29:19.861" v="431" actId="404"/>
          <ac:picMkLst>
            <pc:docMk/>
            <pc:sldMk cId="391724550" sldId="386"/>
            <ac:picMk id="77" creationId="{037D63D3-EE02-2E0A-AA3B-2E54E4C0BF42}"/>
          </ac:picMkLst>
        </pc:picChg>
        <pc:picChg chg="mod">
          <ac:chgData name="Barnes, Charlie" userId="36117f77-fae6-4fb3-806b-c6a759ac5abb" providerId="ADAL" clId="{A742C20C-F491-48A5-A623-4756A7634A45}" dt="2024-08-02T13:29:19.861" v="431" actId="404"/>
          <ac:picMkLst>
            <pc:docMk/>
            <pc:sldMk cId="391724550" sldId="386"/>
            <ac:picMk id="82" creationId="{E7C4D2BE-BE9F-5A1F-D723-857386D021E1}"/>
          </ac:picMkLst>
        </pc:picChg>
        <pc:picChg chg="mod">
          <ac:chgData name="Barnes, Charlie" userId="36117f77-fae6-4fb3-806b-c6a759ac5abb" providerId="ADAL" clId="{A742C20C-F491-48A5-A623-4756A7634A45}" dt="2024-08-02T13:29:19.914" v="432" actId="27636"/>
          <ac:picMkLst>
            <pc:docMk/>
            <pc:sldMk cId="391724550" sldId="386"/>
            <ac:picMk id="90" creationId="{4133B072-2267-60AA-0963-670BC2A2FF45}"/>
          </ac:picMkLst>
        </pc:picChg>
        <pc:picChg chg="mod">
          <ac:chgData name="Barnes, Charlie" userId="36117f77-fae6-4fb3-806b-c6a759ac5abb" providerId="ADAL" clId="{A742C20C-F491-48A5-A623-4756A7634A45}" dt="2024-08-02T13:29:19.914" v="432" actId="27636"/>
          <ac:picMkLst>
            <pc:docMk/>
            <pc:sldMk cId="391724550" sldId="386"/>
            <ac:picMk id="93" creationId="{EDDDBE81-05A6-CB10-EBFF-F63092FAAAEB}"/>
          </ac:picMkLst>
        </pc:picChg>
        <pc:picChg chg="mod">
          <ac:chgData name="Barnes, Charlie" userId="36117f77-fae6-4fb3-806b-c6a759ac5abb" providerId="ADAL" clId="{A742C20C-F491-48A5-A623-4756A7634A45}" dt="2024-08-02T13:29:19.914" v="432" actId="27636"/>
          <ac:picMkLst>
            <pc:docMk/>
            <pc:sldMk cId="391724550" sldId="386"/>
            <ac:picMk id="112" creationId="{42A37EBC-4919-CDB5-58E1-613D844C3298}"/>
          </ac:picMkLst>
        </pc:picChg>
        <pc:picChg chg="mod">
          <ac:chgData name="Barnes, Charlie" userId="36117f77-fae6-4fb3-806b-c6a759ac5abb" providerId="ADAL" clId="{A742C20C-F491-48A5-A623-4756A7634A45}" dt="2024-08-02T13:29:19.861" v="431" actId="404"/>
          <ac:picMkLst>
            <pc:docMk/>
            <pc:sldMk cId="391724550" sldId="386"/>
            <ac:picMk id="151" creationId="{72AB070B-656E-E0E0-CCE4-F63E1F9751D5}"/>
          </ac:picMkLst>
        </pc:picChg>
        <pc:picChg chg="mod">
          <ac:chgData name="Barnes, Charlie" userId="36117f77-fae6-4fb3-806b-c6a759ac5abb" providerId="ADAL" clId="{A742C20C-F491-48A5-A623-4756A7634A45}" dt="2024-08-02T13:29:19.861" v="431" actId="404"/>
          <ac:picMkLst>
            <pc:docMk/>
            <pc:sldMk cId="391724550" sldId="386"/>
            <ac:picMk id="154" creationId="{A74DE5BC-FD89-3B6A-492E-12BCD01D2BD7}"/>
          </ac:picMkLst>
        </pc:picChg>
        <pc:cxnChg chg="mod">
          <ac:chgData name="Barnes, Charlie" userId="36117f77-fae6-4fb3-806b-c6a759ac5abb" providerId="ADAL" clId="{A742C20C-F491-48A5-A623-4756A7634A45}" dt="2024-08-02T13:29:19.914" v="432" actId="27636"/>
          <ac:cxnSpMkLst>
            <pc:docMk/>
            <pc:sldMk cId="391724550" sldId="386"/>
            <ac:cxnSpMk id="42" creationId="{1D2D945C-B79E-EF7C-3F5A-B8BA289DD694}"/>
          </ac:cxnSpMkLst>
        </pc:cxnChg>
        <pc:cxnChg chg="mod">
          <ac:chgData name="Barnes, Charlie" userId="36117f77-fae6-4fb3-806b-c6a759ac5abb" providerId="ADAL" clId="{A742C20C-F491-48A5-A623-4756A7634A45}" dt="2024-08-02T13:29:19.914" v="432" actId="27636"/>
          <ac:cxnSpMkLst>
            <pc:docMk/>
            <pc:sldMk cId="391724550" sldId="386"/>
            <ac:cxnSpMk id="74" creationId="{5186BF24-610C-7E9C-E652-D791F200E34E}"/>
          </ac:cxnSpMkLst>
        </pc:cxnChg>
        <pc:cxnChg chg="mod">
          <ac:chgData name="Barnes, Charlie" userId="36117f77-fae6-4fb3-806b-c6a759ac5abb" providerId="ADAL" clId="{A742C20C-F491-48A5-A623-4756A7634A45}" dt="2024-08-02T13:29:19.861" v="431" actId="404"/>
          <ac:cxnSpMkLst>
            <pc:docMk/>
            <pc:sldMk cId="391724550" sldId="386"/>
            <ac:cxnSpMk id="79" creationId="{4CBC25EA-B62D-B355-032C-00F1E10788D1}"/>
          </ac:cxnSpMkLst>
        </pc:cxn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29:48.330" v="453"/>
              <pc2:cmMkLst xmlns:pc2="http://schemas.microsoft.com/office/powerpoint/2019/9/main/command">
                <pc:docMk/>
                <pc:sldMk cId="391724550" sldId="386"/>
                <pc2:cmMk id="{ED8E113E-B299-4094-8822-E90DEABADA4D}"/>
              </pc2:cmMkLst>
              <pc226:cmRplyChg chg="add">
                <pc226:chgData name="Barnes, Charlie" userId="36117f77-fae6-4fb3-806b-c6a759ac5abb" providerId="ADAL" clId="{A742C20C-F491-48A5-A623-4756A7634A45}" dt="2024-08-02T13:29:48.330" v="453"/>
                <pc2:cmRplyMkLst xmlns:pc2="http://schemas.microsoft.com/office/powerpoint/2019/9/main/command">
                  <pc:docMk/>
                  <pc:sldMk cId="391724550" sldId="386"/>
                  <pc2:cmMk id="{ED8E113E-B299-4094-8822-E90DEABADA4D}"/>
                  <pc2:cmRplyMk id="{05E102DA-20A3-412B-9B62-A22DB092A937}"/>
                </pc2:cmRplyMkLst>
              </pc226:cmRplyChg>
            </pc226:cmChg>
            <pc226:cmChg xmlns:pc226="http://schemas.microsoft.com/office/powerpoint/2022/06/main/command" chg="mod">
              <pc226:chgData name="Barnes, Charlie" userId="36117f77-fae6-4fb3-806b-c6a759ac5abb" providerId="ADAL" clId="{A742C20C-F491-48A5-A623-4756A7634A45}" dt="2024-08-02T13:29:36.172" v="438"/>
              <pc2:cmMkLst xmlns:pc2="http://schemas.microsoft.com/office/powerpoint/2019/9/main/command">
                <pc:docMk/>
                <pc:sldMk cId="391724550" sldId="386"/>
                <pc2:cmMk id="{85BE99D2-04E6-4BD3-A1AF-C9A718B01F3E}"/>
              </pc2:cmMkLst>
              <pc226:cmRplyChg chg="add">
                <pc226:chgData name="Barnes, Charlie" userId="36117f77-fae6-4fb3-806b-c6a759ac5abb" providerId="ADAL" clId="{A742C20C-F491-48A5-A623-4756A7634A45}" dt="2024-08-02T13:29:36.172" v="438"/>
                <pc2:cmRplyMkLst xmlns:pc2="http://schemas.microsoft.com/office/powerpoint/2019/9/main/command">
                  <pc:docMk/>
                  <pc:sldMk cId="391724550" sldId="386"/>
                  <pc2:cmMk id="{85BE99D2-04E6-4BD3-A1AF-C9A718B01F3E}"/>
                  <pc2:cmRplyMk id="{8D6E2981-FCCD-4348-9207-AF600AC927AD}"/>
                </pc2:cmRplyMkLst>
              </pc226:cmRplyChg>
            </pc226:cmChg>
          </p:ext>
        </pc:extLst>
      </pc:sldChg>
      <pc:sldChg chg="modSp mod modCm">
        <pc:chgData name="Barnes, Charlie" userId="36117f77-fae6-4fb3-806b-c6a759ac5abb" providerId="ADAL" clId="{A742C20C-F491-48A5-A623-4756A7634A45}" dt="2024-08-02T13:36:05.682" v="517" actId="20577"/>
        <pc:sldMkLst>
          <pc:docMk/>
          <pc:sldMk cId="898739553" sldId="387"/>
        </pc:sldMkLst>
        <pc:spChg chg="mod">
          <ac:chgData name="Barnes, Charlie" userId="36117f77-fae6-4fb3-806b-c6a759ac5abb" providerId="ADAL" clId="{A742C20C-F491-48A5-A623-4756A7634A45}" dt="2024-08-02T13:36:05.682" v="517" actId="20577"/>
          <ac:spMkLst>
            <pc:docMk/>
            <pc:sldMk cId="898739553" sldId="387"/>
            <ac:spMk id="2" creationId="{4657E047-2582-133B-6B45-C6F76C520C4B}"/>
          </ac:spMkLst>
        </pc:spChg>
        <pc:spChg chg="mod">
          <ac:chgData name="Barnes, Charlie" userId="36117f77-fae6-4fb3-806b-c6a759ac5abb" providerId="ADAL" clId="{A742C20C-F491-48A5-A623-4756A7634A45}" dt="2024-08-02T13:36:00.107" v="506" actId="113"/>
          <ac:spMkLst>
            <pc:docMk/>
            <pc:sldMk cId="898739553" sldId="387"/>
            <ac:spMk id="3" creationId="{A3AFCA51-CA81-3152-1B5E-63C0B4A3A46F}"/>
          </ac:spMkLst>
        </pc:spChg>
        <pc:spChg chg="mod">
          <ac:chgData name="Barnes, Charlie" userId="36117f77-fae6-4fb3-806b-c6a759ac5abb" providerId="ADAL" clId="{A742C20C-F491-48A5-A623-4756A7634A45}" dt="2024-08-02T13:36:00.107" v="506" actId="113"/>
          <ac:spMkLst>
            <pc:docMk/>
            <pc:sldMk cId="898739553" sldId="387"/>
            <ac:spMk id="5" creationId="{40D37AD1-65C1-4B49-7910-BD86E28189BE}"/>
          </ac:spMkLst>
        </pc:spChg>
        <pc:spChg chg="mod">
          <ac:chgData name="Barnes, Charlie" userId="36117f77-fae6-4fb3-806b-c6a759ac5abb" providerId="ADAL" clId="{A742C20C-F491-48A5-A623-4756A7634A45}" dt="2024-08-02T13:36:00.107" v="506" actId="113"/>
          <ac:spMkLst>
            <pc:docMk/>
            <pc:sldMk cId="898739553" sldId="387"/>
            <ac:spMk id="6" creationId="{84AEE208-2228-9A04-BC68-B0695A027B66}"/>
          </ac:spMkLst>
        </pc:spChg>
        <pc:spChg chg="mod">
          <ac:chgData name="Barnes, Charlie" userId="36117f77-fae6-4fb3-806b-c6a759ac5abb" providerId="ADAL" clId="{A742C20C-F491-48A5-A623-4756A7634A45}" dt="2024-08-02T13:36:00.107" v="506" actId="113"/>
          <ac:spMkLst>
            <pc:docMk/>
            <pc:sldMk cId="898739553" sldId="387"/>
            <ac:spMk id="11" creationId="{363B13D9-2E36-67E5-88C0-31D0B63BBFDE}"/>
          </ac:spMkLst>
        </pc:spChg>
        <pc:spChg chg="mod">
          <ac:chgData name="Barnes, Charlie" userId="36117f77-fae6-4fb3-806b-c6a759ac5abb" providerId="ADAL" clId="{A742C20C-F491-48A5-A623-4756A7634A45}" dt="2024-08-02T13:36:00.107" v="506" actId="113"/>
          <ac:spMkLst>
            <pc:docMk/>
            <pc:sldMk cId="898739553" sldId="387"/>
            <ac:spMk id="34" creationId="{575D7A93-0C69-AA98-3264-4DE51103D0FA}"/>
          </ac:spMkLst>
        </pc:spChg>
        <pc:spChg chg="mod">
          <ac:chgData name="Barnes, Charlie" userId="36117f77-fae6-4fb3-806b-c6a759ac5abb" providerId="ADAL" clId="{A742C20C-F491-48A5-A623-4756A7634A45}" dt="2024-08-02T13:36:00.107" v="506" actId="113"/>
          <ac:spMkLst>
            <pc:docMk/>
            <pc:sldMk cId="898739553" sldId="387"/>
            <ac:spMk id="35" creationId="{251E7076-1852-1664-A0D1-676E3CCF7955}"/>
          </ac:spMkLst>
        </pc:spChg>
        <pc:spChg chg="mod">
          <ac:chgData name="Barnes, Charlie" userId="36117f77-fae6-4fb3-806b-c6a759ac5abb" providerId="ADAL" clId="{A742C20C-F491-48A5-A623-4756A7634A45}" dt="2024-08-02T13:36:00.107" v="506" actId="113"/>
          <ac:spMkLst>
            <pc:docMk/>
            <pc:sldMk cId="898739553" sldId="387"/>
            <ac:spMk id="36" creationId="{5F31C1E7-3015-ED43-AA84-3BFBCA432C90}"/>
          </ac:spMkLst>
        </pc:spChg>
        <pc:spChg chg="mod">
          <ac:chgData name="Barnes, Charlie" userId="36117f77-fae6-4fb3-806b-c6a759ac5abb" providerId="ADAL" clId="{A742C20C-F491-48A5-A623-4756A7634A45}" dt="2024-08-02T13:36:00.107" v="506" actId="113"/>
          <ac:spMkLst>
            <pc:docMk/>
            <pc:sldMk cId="898739553" sldId="387"/>
            <ac:spMk id="37" creationId="{A25D28BC-852B-A0AC-082D-39BAB87DB030}"/>
          </ac:spMkLst>
        </pc:spChg>
        <pc:spChg chg="mod">
          <ac:chgData name="Barnes, Charlie" userId="36117f77-fae6-4fb3-806b-c6a759ac5abb" providerId="ADAL" clId="{A742C20C-F491-48A5-A623-4756A7634A45}" dt="2024-08-02T13:36:00.107" v="506" actId="113"/>
          <ac:spMkLst>
            <pc:docMk/>
            <pc:sldMk cId="898739553" sldId="387"/>
            <ac:spMk id="40" creationId="{C9D3CB5A-D75B-C261-BD04-0144D35EE01D}"/>
          </ac:spMkLst>
        </pc:spChg>
        <pc:spChg chg="mod">
          <ac:chgData name="Barnes, Charlie" userId="36117f77-fae6-4fb3-806b-c6a759ac5abb" providerId="ADAL" clId="{A742C20C-F491-48A5-A623-4756A7634A45}" dt="2024-08-02T13:36:00.107" v="506" actId="113"/>
          <ac:spMkLst>
            <pc:docMk/>
            <pc:sldMk cId="898739553" sldId="387"/>
            <ac:spMk id="41" creationId="{D4F4D171-66E3-3263-5C51-3DAAA710A094}"/>
          </ac:spMkLst>
        </pc:spChg>
        <pc:spChg chg="mod">
          <ac:chgData name="Barnes, Charlie" userId="36117f77-fae6-4fb3-806b-c6a759ac5abb" providerId="ADAL" clId="{A742C20C-F491-48A5-A623-4756A7634A45}" dt="2024-08-02T13:36:00.107" v="506" actId="113"/>
          <ac:spMkLst>
            <pc:docMk/>
            <pc:sldMk cId="898739553" sldId="387"/>
            <ac:spMk id="42" creationId="{04A8D9EA-6F79-D485-0AAA-509C22A2501D}"/>
          </ac:spMkLst>
        </pc:spChg>
        <pc:spChg chg="mod">
          <ac:chgData name="Barnes, Charlie" userId="36117f77-fae6-4fb3-806b-c6a759ac5abb" providerId="ADAL" clId="{A742C20C-F491-48A5-A623-4756A7634A45}" dt="2024-08-02T13:36:00.107" v="506" actId="113"/>
          <ac:spMkLst>
            <pc:docMk/>
            <pc:sldMk cId="898739553" sldId="387"/>
            <ac:spMk id="43" creationId="{81781AFC-4698-0E4C-E609-EDA64C279EB0}"/>
          </ac:spMkLst>
        </pc:spChg>
        <pc:spChg chg="mod">
          <ac:chgData name="Barnes, Charlie" userId="36117f77-fae6-4fb3-806b-c6a759ac5abb" providerId="ADAL" clId="{A742C20C-F491-48A5-A623-4756A7634A45}" dt="2024-08-02T13:36:00.107" v="506" actId="113"/>
          <ac:spMkLst>
            <pc:docMk/>
            <pc:sldMk cId="898739553" sldId="387"/>
            <ac:spMk id="45" creationId="{CDBBECFF-621D-6620-85C8-3CB58059A510}"/>
          </ac:spMkLst>
        </pc:spChg>
        <pc:spChg chg="mod">
          <ac:chgData name="Barnes, Charlie" userId="36117f77-fae6-4fb3-806b-c6a759ac5abb" providerId="ADAL" clId="{A742C20C-F491-48A5-A623-4756A7634A45}" dt="2024-08-02T13:36:00.107" v="506" actId="113"/>
          <ac:spMkLst>
            <pc:docMk/>
            <pc:sldMk cId="898739553" sldId="387"/>
            <ac:spMk id="46" creationId="{A316A3DB-A442-8D24-B0C8-2F02E644BD82}"/>
          </ac:spMkLst>
        </pc:spChg>
        <pc:spChg chg="mod">
          <ac:chgData name="Barnes, Charlie" userId="36117f77-fae6-4fb3-806b-c6a759ac5abb" providerId="ADAL" clId="{A742C20C-F491-48A5-A623-4756A7634A45}" dt="2024-08-02T13:36:00.107" v="506" actId="113"/>
          <ac:spMkLst>
            <pc:docMk/>
            <pc:sldMk cId="898739553" sldId="387"/>
            <ac:spMk id="47" creationId="{8B223FD6-B55E-546B-9F48-6D9A1715D890}"/>
          </ac:spMkLst>
        </pc:spChg>
        <pc:spChg chg="mod">
          <ac:chgData name="Barnes, Charlie" userId="36117f77-fae6-4fb3-806b-c6a759ac5abb" providerId="ADAL" clId="{A742C20C-F491-48A5-A623-4756A7634A45}" dt="2024-08-02T13:36:00.107" v="506" actId="113"/>
          <ac:spMkLst>
            <pc:docMk/>
            <pc:sldMk cId="898739553" sldId="387"/>
            <ac:spMk id="49" creationId="{45017346-11A6-4770-CEFD-0EA881FAAB06}"/>
          </ac:spMkLst>
        </pc:spChg>
        <pc:spChg chg="mod">
          <ac:chgData name="Barnes, Charlie" userId="36117f77-fae6-4fb3-806b-c6a759ac5abb" providerId="ADAL" clId="{A742C20C-F491-48A5-A623-4756A7634A45}" dt="2024-08-02T13:36:00.107" v="506" actId="113"/>
          <ac:spMkLst>
            <pc:docMk/>
            <pc:sldMk cId="898739553" sldId="387"/>
            <ac:spMk id="50" creationId="{6FE0C7CE-2F13-738B-3214-9D37010A369F}"/>
          </ac:spMkLst>
        </pc:spChg>
        <pc:spChg chg="mod">
          <ac:chgData name="Barnes, Charlie" userId="36117f77-fae6-4fb3-806b-c6a759ac5abb" providerId="ADAL" clId="{A742C20C-F491-48A5-A623-4756A7634A45}" dt="2024-08-02T13:36:00.107" v="506" actId="113"/>
          <ac:spMkLst>
            <pc:docMk/>
            <pc:sldMk cId="898739553" sldId="387"/>
            <ac:spMk id="51" creationId="{BBB99058-6152-0EEE-C7B3-4BA42878DD81}"/>
          </ac:spMkLst>
        </pc:spChg>
        <pc:spChg chg="mod">
          <ac:chgData name="Barnes, Charlie" userId="36117f77-fae6-4fb3-806b-c6a759ac5abb" providerId="ADAL" clId="{A742C20C-F491-48A5-A623-4756A7634A45}" dt="2024-08-02T13:36:00.107" v="506" actId="113"/>
          <ac:spMkLst>
            <pc:docMk/>
            <pc:sldMk cId="898739553" sldId="387"/>
            <ac:spMk id="55" creationId="{BD97A882-359D-03CA-1C17-CE703FC7B811}"/>
          </ac:spMkLst>
        </pc:spChg>
        <pc:spChg chg="mod">
          <ac:chgData name="Barnes, Charlie" userId="36117f77-fae6-4fb3-806b-c6a759ac5abb" providerId="ADAL" clId="{A742C20C-F491-48A5-A623-4756A7634A45}" dt="2024-08-02T13:36:00.107" v="506" actId="113"/>
          <ac:spMkLst>
            <pc:docMk/>
            <pc:sldMk cId="898739553" sldId="387"/>
            <ac:spMk id="56" creationId="{F1A1230E-C48D-9A94-4BB8-1CB3B0FCAB0C}"/>
          </ac:spMkLst>
        </pc:spChg>
        <pc:spChg chg="mod">
          <ac:chgData name="Barnes, Charlie" userId="36117f77-fae6-4fb3-806b-c6a759ac5abb" providerId="ADAL" clId="{A742C20C-F491-48A5-A623-4756A7634A45}" dt="2024-08-02T13:36:00.107" v="506" actId="113"/>
          <ac:spMkLst>
            <pc:docMk/>
            <pc:sldMk cId="898739553" sldId="387"/>
            <ac:spMk id="65" creationId="{D29E4F75-0921-D94F-6FAE-5B973ABDC305}"/>
          </ac:spMkLst>
        </pc:spChg>
        <pc:grpChg chg="mod">
          <ac:chgData name="Barnes, Charlie" userId="36117f77-fae6-4fb3-806b-c6a759ac5abb" providerId="ADAL" clId="{A742C20C-F491-48A5-A623-4756A7634A45}" dt="2024-08-02T13:36:00.107" v="506" actId="113"/>
          <ac:grpSpMkLst>
            <pc:docMk/>
            <pc:sldMk cId="898739553" sldId="387"/>
            <ac:grpSpMk id="10" creationId="{8138B01B-4678-AE0D-C99E-37B4560F1347}"/>
          </ac:grpSpMkLst>
        </pc:grpChg>
        <pc:picChg chg="mod">
          <ac:chgData name="Barnes, Charlie" userId="36117f77-fae6-4fb3-806b-c6a759ac5abb" providerId="ADAL" clId="{A742C20C-F491-48A5-A623-4756A7634A45}" dt="2024-08-02T13:36:00.107" v="506" actId="113"/>
          <ac:picMkLst>
            <pc:docMk/>
            <pc:sldMk cId="898739553" sldId="387"/>
            <ac:picMk id="4" creationId="{DA1357A5-51B1-131D-DA46-1AD6ACD0ADEB}"/>
          </ac:picMkLst>
        </pc:picChg>
        <pc:picChg chg="mod">
          <ac:chgData name="Barnes, Charlie" userId="36117f77-fae6-4fb3-806b-c6a759ac5abb" providerId="ADAL" clId="{A742C20C-F491-48A5-A623-4756A7634A45}" dt="2024-08-02T13:36:00.107" v="506" actId="113"/>
          <ac:picMkLst>
            <pc:docMk/>
            <pc:sldMk cId="898739553" sldId="387"/>
            <ac:picMk id="7" creationId="{C012D9F5-109E-D6BC-8298-7B7ED7DC1B83}"/>
          </ac:picMkLst>
        </pc:picChg>
        <pc:picChg chg="mod">
          <ac:chgData name="Barnes, Charlie" userId="36117f77-fae6-4fb3-806b-c6a759ac5abb" providerId="ADAL" clId="{A742C20C-F491-48A5-A623-4756A7634A45}" dt="2024-08-02T13:36:00.107" v="506" actId="113"/>
          <ac:picMkLst>
            <pc:docMk/>
            <pc:sldMk cId="898739553" sldId="387"/>
            <ac:picMk id="8" creationId="{E7EEAC9C-7ACB-9684-B77C-1C10405AAB95}"/>
          </ac:picMkLst>
        </pc:picChg>
        <pc:picChg chg="mod">
          <ac:chgData name="Barnes, Charlie" userId="36117f77-fae6-4fb3-806b-c6a759ac5abb" providerId="ADAL" clId="{A742C20C-F491-48A5-A623-4756A7634A45}" dt="2024-08-02T13:36:00.107" v="506" actId="113"/>
          <ac:picMkLst>
            <pc:docMk/>
            <pc:sldMk cId="898739553" sldId="387"/>
            <ac:picMk id="9" creationId="{45B74C2B-F84E-646E-E07E-42077B29AA4C}"/>
          </ac:picMkLst>
        </pc:picChg>
        <pc:picChg chg="mod">
          <ac:chgData name="Barnes, Charlie" userId="36117f77-fae6-4fb3-806b-c6a759ac5abb" providerId="ADAL" clId="{A742C20C-F491-48A5-A623-4756A7634A45}" dt="2024-08-02T13:36:00.107" v="506" actId="113"/>
          <ac:picMkLst>
            <pc:docMk/>
            <pc:sldMk cId="898739553" sldId="387"/>
            <ac:picMk id="39" creationId="{63FD3EBF-8ABC-8650-AB4E-55C04570FDCF}"/>
          </ac:picMkLst>
        </pc:picChg>
        <pc:picChg chg="mod">
          <ac:chgData name="Barnes, Charlie" userId="36117f77-fae6-4fb3-806b-c6a759ac5abb" providerId="ADAL" clId="{A742C20C-F491-48A5-A623-4756A7634A45}" dt="2024-08-02T13:36:00.107" v="506" actId="113"/>
          <ac:picMkLst>
            <pc:docMk/>
            <pc:sldMk cId="898739553" sldId="387"/>
            <ac:picMk id="48" creationId="{1B23B2B0-63AF-1F04-1E27-C6E3CD9D62C3}"/>
          </ac:picMkLst>
        </pc:picChg>
        <pc:picChg chg="mod">
          <ac:chgData name="Barnes, Charlie" userId="36117f77-fae6-4fb3-806b-c6a759ac5abb" providerId="ADAL" clId="{A742C20C-F491-48A5-A623-4756A7634A45}" dt="2024-08-02T13:36:00.107" v="506" actId="113"/>
          <ac:picMkLst>
            <pc:docMk/>
            <pc:sldMk cId="898739553" sldId="387"/>
            <ac:picMk id="53" creationId="{F0E21D5A-A17A-C7D3-808B-D0A59B677C00}"/>
          </ac:picMkLst>
        </pc:pic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35:14.482" v="499"/>
              <pc2:cmMkLst xmlns:pc2="http://schemas.microsoft.com/office/powerpoint/2019/9/main/command">
                <pc:docMk/>
                <pc:sldMk cId="898739553" sldId="387"/>
                <pc2:cmMk id="{3B6446A4-B353-4239-B818-90AAEB70182A}"/>
              </pc2:cmMkLst>
              <pc226:cmRplyChg chg="add">
                <pc226:chgData name="Barnes, Charlie" userId="36117f77-fae6-4fb3-806b-c6a759ac5abb" providerId="ADAL" clId="{A742C20C-F491-48A5-A623-4756A7634A45}" dt="2024-08-02T13:35:14.482" v="499"/>
                <pc2:cmRplyMkLst xmlns:pc2="http://schemas.microsoft.com/office/powerpoint/2019/9/main/command">
                  <pc:docMk/>
                  <pc:sldMk cId="898739553" sldId="387"/>
                  <pc2:cmMk id="{3B6446A4-B353-4239-B818-90AAEB70182A}"/>
                  <pc2:cmRplyMk id="{043E0812-A2D3-4E7A-BCF8-8D0A67C3B679}"/>
                </pc2:cmRplyMkLst>
              </pc226:cmRplyChg>
            </pc226:cmChg>
            <pc226:cmChg xmlns:pc226="http://schemas.microsoft.com/office/powerpoint/2022/06/main/command" chg="mod">
              <pc226:chgData name="Barnes, Charlie" userId="36117f77-fae6-4fb3-806b-c6a759ac5abb" providerId="ADAL" clId="{A742C20C-F491-48A5-A623-4756A7634A45}" dt="2024-08-02T13:34:58.365" v="476"/>
              <pc2:cmMkLst xmlns:pc2="http://schemas.microsoft.com/office/powerpoint/2019/9/main/command">
                <pc:docMk/>
                <pc:sldMk cId="898739553" sldId="387"/>
                <pc2:cmMk id="{00A881E7-00D2-46EC-9B15-B677A3874921}"/>
              </pc2:cmMkLst>
              <pc226:cmRplyChg chg="add">
                <pc226:chgData name="Barnes, Charlie" userId="36117f77-fae6-4fb3-806b-c6a759ac5abb" providerId="ADAL" clId="{A742C20C-F491-48A5-A623-4756A7634A45}" dt="2024-08-02T13:34:58.365" v="476"/>
                <pc2:cmRplyMkLst xmlns:pc2="http://schemas.microsoft.com/office/powerpoint/2019/9/main/command">
                  <pc:docMk/>
                  <pc:sldMk cId="898739553" sldId="387"/>
                  <pc2:cmMk id="{00A881E7-00D2-46EC-9B15-B677A3874921}"/>
                  <pc2:cmRplyMk id="{FAD32965-5A95-4B32-8C2D-89DD4E2F4A7C}"/>
                </pc2:cmRplyMkLst>
              </pc226:cmRplyChg>
            </pc226:cmChg>
          </p:ext>
        </pc:extLst>
      </pc:sldChg>
      <pc:sldChg chg="modSp mod">
        <pc:chgData name="Barnes, Charlie" userId="36117f77-fae6-4fb3-806b-c6a759ac5abb" providerId="ADAL" clId="{A742C20C-F491-48A5-A623-4756A7634A45}" dt="2024-08-02T13:36:23.566" v="542" actId="1038"/>
        <pc:sldMkLst>
          <pc:docMk/>
          <pc:sldMk cId="764447634" sldId="388"/>
        </pc:sldMkLst>
        <pc:spChg chg="mod">
          <ac:chgData name="Barnes, Charlie" userId="36117f77-fae6-4fb3-806b-c6a759ac5abb" providerId="ADAL" clId="{A742C20C-F491-48A5-A623-4756A7634A45}" dt="2024-08-02T13:36:16.801" v="531" actId="27636"/>
          <ac:spMkLst>
            <pc:docMk/>
            <pc:sldMk cId="764447634" sldId="388"/>
            <ac:spMk id="2" creationId="{4657E047-2582-133B-6B45-C6F76C520C4B}"/>
          </ac:spMkLst>
        </pc:spChg>
        <pc:spChg chg="mod">
          <ac:chgData name="Barnes, Charlie" userId="36117f77-fae6-4fb3-806b-c6a759ac5abb" providerId="ADAL" clId="{A742C20C-F491-48A5-A623-4756A7634A45}" dt="2024-08-02T13:36:16.801" v="531" actId="27636"/>
          <ac:spMkLst>
            <pc:docMk/>
            <pc:sldMk cId="764447634" sldId="388"/>
            <ac:spMk id="3" creationId="{1A0FEEB7-4E76-207D-B83D-ACC17F8F7C6A}"/>
          </ac:spMkLst>
        </pc:spChg>
        <pc:spChg chg="mod">
          <ac:chgData name="Barnes, Charlie" userId="36117f77-fae6-4fb3-806b-c6a759ac5abb" providerId="ADAL" clId="{A742C20C-F491-48A5-A623-4756A7634A45}" dt="2024-08-02T13:36:16.801" v="531" actId="27636"/>
          <ac:spMkLst>
            <pc:docMk/>
            <pc:sldMk cId="764447634" sldId="388"/>
            <ac:spMk id="12" creationId="{AF841363-A543-6B33-AB56-05C8B28A6300}"/>
          </ac:spMkLst>
        </pc:spChg>
        <pc:spChg chg="mod">
          <ac:chgData name="Barnes, Charlie" userId="36117f77-fae6-4fb3-806b-c6a759ac5abb" providerId="ADAL" clId="{A742C20C-F491-48A5-A623-4756A7634A45}" dt="2024-08-02T13:36:16.801" v="531" actId="27636"/>
          <ac:spMkLst>
            <pc:docMk/>
            <pc:sldMk cId="764447634" sldId="388"/>
            <ac:spMk id="13" creationId="{46257170-9E34-27D8-F5EF-1F2E2033A7FE}"/>
          </ac:spMkLst>
        </pc:spChg>
        <pc:spChg chg="mod">
          <ac:chgData name="Barnes, Charlie" userId="36117f77-fae6-4fb3-806b-c6a759ac5abb" providerId="ADAL" clId="{A742C20C-F491-48A5-A623-4756A7634A45}" dt="2024-08-02T13:36:16.801" v="531" actId="27636"/>
          <ac:spMkLst>
            <pc:docMk/>
            <pc:sldMk cId="764447634" sldId="388"/>
            <ac:spMk id="14" creationId="{83C24A4C-41ED-3319-BAC2-1BA8D32DDE1A}"/>
          </ac:spMkLst>
        </pc:spChg>
        <pc:spChg chg="mod">
          <ac:chgData name="Barnes, Charlie" userId="36117f77-fae6-4fb3-806b-c6a759ac5abb" providerId="ADAL" clId="{A742C20C-F491-48A5-A623-4756A7634A45}" dt="2024-08-02T13:36:16.801" v="531" actId="27636"/>
          <ac:spMkLst>
            <pc:docMk/>
            <pc:sldMk cId="764447634" sldId="388"/>
            <ac:spMk id="15" creationId="{EAD6FCCF-015E-8935-581C-38A1463DB77E}"/>
          </ac:spMkLst>
        </pc:spChg>
        <pc:spChg chg="mod">
          <ac:chgData name="Barnes, Charlie" userId="36117f77-fae6-4fb3-806b-c6a759ac5abb" providerId="ADAL" clId="{A742C20C-F491-48A5-A623-4756A7634A45}" dt="2024-08-02T13:36:16.801" v="531" actId="27636"/>
          <ac:spMkLst>
            <pc:docMk/>
            <pc:sldMk cId="764447634" sldId="388"/>
            <ac:spMk id="16" creationId="{F48E4F71-3657-A9F1-FC03-C365D099322E}"/>
          </ac:spMkLst>
        </pc:spChg>
        <pc:spChg chg="mod">
          <ac:chgData name="Barnes, Charlie" userId="36117f77-fae6-4fb3-806b-c6a759ac5abb" providerId="ADAL" clId="{A742C20C-F491-48A5-A623-4756A7634A45}" dt="2024-08-02T13:36:16.801" v="531" actId="27636"/>
          <ac:spMkLst>
            <pc:docMk/>
            <pc:sldMk cId="764447634" sldId="388"/>
            <ac:spMk id="17" creationId="{AF9308B8-B425-4CFB-715A-1F710848939B}"/>
          </ac:spMkLst>
        </pc:spChg>
        <pc:spChg chg="mod">
          <ac:chgData name="Barnes, Charlie" userId="36117f77-fae6-4fb3-806b-c6a759ac5abb" providerId="ADAL" clId="{A742C20C-F491-48A5-A623-4756A7634A45}" dt="2024-08-02T13:36:16.754" v="530" actId="404"/>
          <ac:spMkLst>
            <pc:docMk/>
            <pc:sldMk cId="764447634" sldId="388"/>
            <ac:spMk id="18" creationId="{932EC01A-E05F-6A49-5E54-9999C1E1E742}"/>
          </ac:spMkLst>
        </pc:spChg>
        <pc:spChg chg="mod">
          <ac:chgData name="Barnes, Charlie" userId="36117f77-fae6-4fb3-806b-c6a759ac5abb" providerId="ADAL" clId="{A742C20C-F491-48A5-A623-4756A7634A45}" dt="2024-08-02T13:36:16.754" v="530" actId="404"/>
          <ac:spMkLst>
            <pc:docMk/>
            <pc:sldMk cId="764447634" sldId="388"/>
            <ac:spMk id="19" creationId="{B1AA258C-6B6E-0E43-B485-49052117FB25}"/>
          </ac:spMkLst>
        </pc:spChg>
        <pc:spChg chg="mod">
          <ac:chgData name="Barnes, Charlie" userId="36117f77-fae6-4fb3-806b-c6a759ac5abb" providerId="ADAL" clId="{A742C20C-F491-48A5-A623-4756A7634A45}" dt="2024-08-02T13:36:16.754" v="530" actId="404"/>
          <ac:spMkLst>
            <pc:docMk/>
            <pc:sldMk cId="764447634" sldId="388"/>
            <ac:spMk id="20" creationId="{12F7C755-490B-16B7-25A5-EA1BBACE9D1C}"/>
          </ac:spMkLst>
        </pc:spChg>
        <pc:spChg chg="mod">
          <ac:chgData name="Barnes, Charlie" userId="36117f77-fae6-4fb3-806b-c6a759ac5abb" providerId="ADAL" clId="{A742C20C-F491-48A5-A623-4756A7634A45}" dt="2024-08-02T13:36:16.754" v="530" actId="404"/>
          <ac:spMkLst>
            <pc:docMk/>
            <pc:sldMk cId="764447634" sldId="388"/>
            <ac:spMk id="21" creationId="{7AC75C77-BB40-4849-4FFD-E4ED380E3E66}"/>
          </ac:spMkLst>
        </pc:spChg>
        <pc:spChg chg="mod">
          <ac:chgData name="Barnes, Charlie" userId="36117f77-fae6-4fb3-806b-c6a759ac5abb" providerId="ADAL" clId="{A742C20C-F491-48A5-A623-4756A7634A45}" dt="2024-08-02T13:36:16.754" v="530" actId="404"/>
          <ac:spMkLst>
            <pc:docMk/>
            <pc:sldMk cId="764447634" sldId="388"/>
            <ac:spMk id="22" creationId="{01CC7A12-2304-DB40-DECA-CEAA5E40C9B5}"/>
          </ac:spMkLst>
        </pc:spChg>
        <pc:spChg chg="mod">
          <ac:chgData name="Barnes, Charlie" userId="36117f77-fae6-4fb3-806b-c6a759ac5abb" providerId="ADAL" clId="{A742C20C-F491-48A5-A623-4756A7634A45}" dt="2024-08-02T13:36:16.754" v="530" actId="404"/>
          <ac:spMkLst>
            <pc:docMk/>
            <pc:sldMk cId="764447634" sldId="388"/>
            <ac:spMk id="23" creationId="{1B4DA743-EAEC-1BBA-1160-1FC44EDED902}"/>
          </ac:spMkLst>
        </pc:spChg>
        <pc:spChg chg="mod">
          <ac:chgData name="Barnes, Charlie" userId="36117f77-fae6-4fb3-806b-c6a759ac5abb" providerId="ADAL" clId="{A742C20C-F491-48A5-A623-4756A7634A45}" dt="2024-08-02T13:36:16.754" v="530" actId="404"/>
          <ac:spMkLst>
            <pc:docMk/>
            <pc:sldMk cId="764447634" sldId="388"/>
            <ac:spMk id="24" creationId="{D945E4CF-E595-A270-E558-5AC93F7CE3F3}"/>
          </ac:spMkLst>
        </pc:spChg>
        <pc:spChg chg="mod">
          <ac:chgData name="Barnes, Charlie" userId="36117f77-fae6-4fb3-806b-c6a759ac5abb" providerId="ADAL" clId="{A742C20C-F491-48A5-A623-4756A7634A45}" dt="2024-08-02T13:36:16.754" v="530" actId="404"/>
          <ac:spMkLst>
            <pc:docMk/>
            <pc:sldMk cId="764447634" sldId="388"/>
            <ac:spMk id="25" creationId="{D3460EE6-9669-3034-F4EF-90342318ED25}"/>
          </ac:spMkLst>
        </pc:spChg>
        <pc:spChg chg="mod">
          <ac:chgData name="Barnes, Charlie" userId="36117f77-fae6-4fb3-806b-c6a759ac5abb" providerId="ADAL" clId="{A742C20C-F491-48A5-A623-4756A7634A45}" dt="2024-08-02T13:36:16.754" v="530" actId="404"/>
          <ac:spMkLst>
            <pc:docMk/>
            <pc:sldMk cId="764447634" sldId="388"/>
            <ac:spMk id="26" creationId="{15F8857A-3E6D-B234-F73D-AD02CD323113}"/>
          </ac:spMkLst>
        </pc:spChg>
        <pc:spChg chg="mod">
          <ac:chgData name="Barnes, Charlie" userId="36117f77-fae6-4fb3-806b-c6a759ac5abb" providerId="ADAL" clId="{A742C20C-F491-48A5-A623-4756A7634A45}" dt="2024-08-02T13:36:16.754" v="530" actId="404"/>
          <ac:spMkLst>
            <pc:docMk/>
            <pc:sldMk cId="764447634" sldId="388"/>
            <ac:spMk id="27" creationId="{B83264E5-C7AB-1A1C-8A0E-6D714E16915C}"/>
          </ac:spMkLst>
        </pc:spChg>
        <pc:spChg chg="mod">
          <ac:chgData name="Barnes, Charlie" userId="36117f77-fae6-4fb3-806b-c6a759ac5abb" providerId="ADAL" clId="{A742C20C-F491-48A5-A623-4756A7634A45}" dt="2024-08-02T13:36:16.754" v="530" actId="404"/>
          <ac:spMkLst>
            <pc:docMk/>
            <pc:sldMk cId="764447634" sldId="388"/>
            <ac:spMk id="28" creationId="{0552AECD-8182-BE43-351E-E8993A0DFA59}"/>
          </ac:spMkLst>
        </pc:spChg>
        <pc:spChg chg="mod">
          <ac:chgData name="Barnes, Charlie" userId="36117f77-fae6-4fb3-806b-c6a759ac5abb" providerId="ADAL" clId="{A742C20C-F491-48A5-A623-4756A7634A45}" dt="2024-08-02T13:36:16.754" v="530" actId="404"/>
          <ac:spMkLst>
            <pc:docMk/>
            <pc:sldMk cId="764447634" sldId="388"/>
            <ac:spMk id="29" creationId="{B363D10E-343D-42DC-EBB4-EBE1F16F24F7}"/>
          </ac:spMkLst>
        </pc:spChg>
        <pc:spChg chg="mod">
          <ac:chgData name="Barnes, Charlie" userId="36117f77-fae6-4fb3-806b-c6a759ac5abb" providerId="ADAL" clId="{A742C20C-F491-48A5-A623-4756A7634A45}" dt="2024-08-02T13:36:16.754" v="530" actId="404"/>
          <ac:spMkLst>
            <pc:docMk/>
            <pc:sldMk cId="764447634" sldId="388"/>
            <ac:spMk id="31" creationId="{E25330D9-D216-7EBE-E763-4472B164B467}"/>
          </ac:spMkLst>
        </pc:spChg>
        <pc:spChg chg="mod">
          <ac:chgData name="Barnes, Charlie" userId="36117f77-fae6-4fb3-806b-c6a759ac5abb" providerId="ADAL" clId="{A742C20C-F491-48A5-A623-4756A7634A45}" dt="2024-08-02T13:36:16.754" v="530" actId="404"/>
          <ac:spMkLst>
            <pc:docMk/>
            <pc:sldMk cId="764447634" sldId="388"/>
            <ac:spMk id="33" creationId="{EEA4E6D1-99D2-7A8C-AC4B-9306B2EA64C3}"/>
          </ac:spMkLst>
        </pc:spChg>
        <pc:spChg chg="mod">
          <ac:chgData name="Barnes, Charlie" userId="36117f77-fae6-4fb3-806b-c6a759ac5abb" providerId="ADAL" clId="{A742C20C-F491-48A5-A623-4756A7634A45}" dt="2024-08-02T13:36:16.754" v="530" actId="404"/>
          <ac:spMkLst>
            <pc:docMk/>
            <pc:sldMk cId="764447634" sldId="388"/>
            <ac:spMk id="38" creationId="{1D80FE22-6D01-5927-9B03-F2B7BB9F9BEA}"/>
          </ac:spMkLst>
        </pc:spChg>
        <pc:spChg chg="mod">
          <ac:chgData name="Barnes, Charlie" userId="36117f77-fae6-4fb3-806b-c6a759ac5abb" providerId="ADAL" clId="{A742C20C-F491-48A5-A623-4756A7634A45}" dt="2024-08-02T13:36:16.754" v="530" actId="404"/>
          <ac:spMkLst>
            <pc:docMk/>
            <pc:sldMk cId="764447634" sldId="388"/>
            <ac:spMk id="44" creationId="{E7E45F2D-2E2F-461A-B780-D6A060ECE97E}"/>
          </ac:spMkLst>
        </pc:spChg>
        <pc:spChg chg="mod">
          <ac:chgData name="Barnes, Charlie" userId="36117f77-fae6-4fb3-806b-c6a759ac5abb" providerId="ADAL" clId="{A742C20C-F491-48A5-A623-4756A7634A45}" dt="2024-08-02T13:36:16.754" v="530" actId="404"/>
          <ac:spMkLst>
            <pc:docMk/>
            <pc:sldMk cId="764447634" sldId="388"/>
            <ac:spMk id="52" creationId="{543D7F1D-A3D9-9036-55F4-53AE19CAF74A}"/>
          </ac:spMkLst>
        </pc:spChg>
        <pc:spChg chg="mod">
          <ac:chgData name="Barnes, Charlie" userId="36117f77-fae6-4fb3-806b-c6a759ac5abb" providerId="ADAL" clId="{A742C20C-F491-48A5-A623-4756A7634A45}" dt="2024-08-02T13:36:16.754" v="530" actId="404"/>
          <ac:spMkLst>
            <pc:docMk/>
            <pc:sldMk cId="764447634" sldId="388"/>
            <ac:spMk id="54" creationId="{BD9E3C93-80E7-3599-5A8A-500A5185F4A9}"/>
          </ac:spMkLst>
        </pc:spChg>
        <pc:spChg chg="mod">
          <ac:chgData name="Barnes, Charlie" userId="36117f77-fae6-4fb3-806b-c6a759ac5abb" providerId="ADAL" clId="{A742C20C-F491-48A5-A623-4756A7634A45}" dt="2024-08-02T13:36:16.754" v="530" actId="404"/>
          <ac:spMkLst>
            <pc:docMk/>
            <pc:sldMk cId="764447634" sldId="388"/>
            <ac:spMk id="63" creationId="{5BE5FDCA-83FB-17D5-4AAB-8BCB500C58E3}"/>
          </ac:spMkLst>
        </pc:spChg>
        <pc:spChg chg="mod">
          <ac:chgData name="Barnes, Charlie" userId="36117f77-fae6-4fb3-806b-c6a759ac5abb" providerId="ADAL" clId="{A742C20C-F491-48A5-A623-4756A7634A45}" dt="2024-08-02T13:36:16.754" v="530" actId="404"/>
          <ac:spMkLst>
            <pc:docMk/>
            <pc:sldMk cId="764447634" sldId="388"/>
            <ac:spMk id="66" creationId="{60CC9B27-E31E-05A3-F0B0-4D19265EB52E}"/>
          </ac:spMkLst>
        </pc:spChg>
        <pc:spChg chg="mod">
          <ac:chgData name="Barnes, Charlie" userId="36117f77-fae6-4fb3-806b-c6a759ac5abb" providerId="ADAL" clId="{A742C20C-F491-48A5-A623-4756A7634A45}" dt="2024-08-02T13:36:16.754" v="530" actId="404"/>
          <ac:spMkLst>
            <pc:docMk/>
            <pc:sldMk cId="764447634" sldId="388"/>
            <ac:spMk id="67" creationId="{EBA5421C-9701-86B3-35A2-A83603786F7E}"/>
          </ac:spMkLst>
        </pc:spChg>
        <pc:spChg chg="mod">
          <ac:chgData name="Barnes, Charlie" userId="36117f77-fae6-4fb3-806b-c6a759ac5abb" providerId="ADAL" clId="{A742C20C-F491-48A5-A623-4756A7634A45}" dt="2024-08-02T13:36:16.754" v="530" actId="404"/>
          <ac:spMkLst>
            <pc:docMk/>
            <pc:sldMk cId="764447634" sldId="388"/>
            <ac:spMk id="68" creationId="{43046211-2721-DB1C-273D-2A427DEEC3EE}"/>
          </ac:spMkLst>
        </pc:spChg>
        <pc:spChg chg="mod">
          <ac:chgData name="Barnes, Charlie" userId="36117f77-fae6-4fb3-806b-c6a759ac5abb" providerId="ADAL" clId="{A742C20C-F491-48A5-A623-4756A7634A45}" dt="2024-08-02T13:36:16.754" v="530" actId="404"/>
          <ac:spMkLst>
            <pc:docMk/>
            <pc:sldMk cId="764447634" sldId="388"/>
            <ac:spMk id="71" creationId="{04C588E4-B050-87F7-30FF-6803463905A8}"/>
          </ac:spMkLst>
        </pc:spChg>
        <pc:spChg chg="mod">
          <ac:chgData name="Barnes, Charlie" userId="36117f77-fae6-4fb3-806b-c6a759ac5abb" providerId="ADAL" clId="{A742C20C-F491-48A5-A623-4756A7634A45}" dt="2024-08-02T13:36:16.754" v="530" actId="404"/>
          <ac:spMkLst>
            <pc:docMk/>
            <pc:sldMk cId="764447634" sldId="388"/>
            <ac:spMk id="74" creationId="{4AE88D4A-FDC3-6A79-9EB7-B1B5C32AB917}"/>
          </ac:spMkLst>
        </pc:spChg>
        <pc:spChg chg="mod">
          <ac:chgData name="Barnes, Charlie" userId="36117f77-fae6-4fb3-806b-c6a759ac5abb" providerId="ADAL" clId="{A742C20C-F491-48A5-A623-4756A7634A45}" dt="2024-08-02T13:36:16.754" v="530" actId="404"/>
          <ac:spMkLst>
            <pc:docMk/>
            <pc:sldMk cId="764447634" sldId="388"/>
            <ac:spMk id="75" creationId="{3847A935-94E2-E68E-825B-97FD1CEC5CC7}"/>
          </ac:spMkLst>
        </pc:spChg>
        <pc:spChg chg="mod">
          <ac:chgData name="Barnes, Charlie" userId="36117f77-fae6-4fb3-806b-c6a759ac5abb" providerId="ADAL" clId="{A742C20C-F491-48A5-A623-4756A7634A45}" dt="2024-08-02T13:36:16.754" v="530" actId="404"/>
          <ac:spMkLst>
            <pc:docMk/>
            <pc:sldMk cId="764447634" sldId="388"/>
            <ac:spMk id="76" creationId="{73EFBB85-FB23-F82E-200F-52449511D83E}"/>
          </ac:spMkLst>
        </pc:spChg>
        <pc:spChg chg="mod">
          <ac:chgData name="Barnes, Charlie" userId="36117f77-fae6-4fb3-806b-c6a759ac5abb" providerId="ADAL" clId="{A742C20C-F491-48A5-A623-4756A7634A45}" dt="2024-08-02T13:36:16.754" v="530" actId="404"/>
          <ac:spMkLst>
            <pc:docMk/>
            <pc:sldMk cId="764447634" sldId="388"/>
            <ac:spMk id="77" creationId="{7C57B173-8CF4-C17A-20C6-5B5A42BA3F44}"/>
          </ac:spMkLst>
        </pc:spChg>
        <pc:spChg chg="mod">
          <ac:chgData name="Barnes, Charlie" userId="36117f77-fae6-4fb3-806b-c6a759ac5abb" providerId="ADAL" clId="{A742C20C-F491-48A5-A623-4756A7634A45}" dt="2024-08-02T13:36:16.754" v="530" actId="404"/>
          <ac:spMkLst>
            <pc:docMk/>
            <pc:sldMk cId="764447634" sldId="388"/>
            <ac:spMk id="78" creationId="{66A1A61E-AAE1-B0F3-66C0-457BDEE74D0C}"/>
          </ac:spMkLst>
        </pc:spChg>
        <pc:spChg chg="mod">
          <ac:chgData name="Barnes, Charlie" userId="36117f77-fae6-4fb3-806b-c6a759ac5abb" providerId="ADAL" clId="{A742C20C-F491-48A5-A623-4756A7634A45}" dt="2024-08-02T13:36:16.754" v="530" actId="404"/>
          <ac:spMkLst>
            <pc:docMk/>
            <pc:sldMk cId="764447634" sldId="388"/>
            <ac:spMk id="81" creationId="{ED1DBD2D-C52B-8B32-733B-66CD86C6D899}"/>
          </ac:spMkLst>
        </pc:spChg>
        <pc:spChg chg="mod">
          <ac:chgData name="Barnes, Charlie" userId="36117f77-fae6-4fb3-806b-c6a759ac5abb" providerId="ADAL" clId="{A742C20C-F491-48A5-A623-4756A7634A45}" dt="2024-08-02T13:36:16.754" v="530" actId="404"/>
          <ac:spMkLst>
            <pc:docMk/>
            <pc:sldMk cId="764447634" sldId="388"/>
            <ac:spMk id="83" creationId="{2AC21764-7B84-EE94-3BF4-51B6D4640487}"/>
          </ac:spMkLst>
        </pc:spChg>
        <pc:spChg chg="mod">
          <ac:chgData name="Barnes, Charlie" userId="36117f77-fae6-4fb3-806b-c6a759ac5abb" providerId="ADAL" clId="{A742C20C-F491-48A5-A623-4756A7634A45}" dt="2024-08-02T13:36:16.754" v="530" actId="404"/>
          <ac:spMkLst>
            <pc:docMk/>
            <pc:sldMk cId="764447634" sldId="388"/>
            <ac:spMk id="84" creationId="{842DD22C-4BA4-159A-22E9-F8754AAB253A}"/>
          </ac:spMkLst>
        </pc:spChg>
        <pc:spChg chg="mod">
          <ac:chgData name="Barnes, Charlie" userId="36117f77-fae6-4fb3-806b-c6a759ac5abb" providerId="ADAL" clId="{A742C20C-F491-48A5-A623-4756A7634A45}" dt="2024-08-02T13:36:16.754" v="530" actId="404"/>
          <ac:spMkLst>
            <pc:docMk/>
            <pc:sldMk cId="764447634" sldId="388"/>
            <ac:spMk id="85" creationId="{3067A514-48DC-1E01-94F0-0FB8DBB1BE1D}"/>
          </ac:spMkLst>
        </pc:spChg>
        <pc:spChg chg="mod">
          <ac:chgData name="Barnes, Charlie" userId="36117f77-fae6-4fb3-806b-c6a759ac5abb" providerId="ADAL" clId="{A742C20C-F491-48A5-A623-4756A7634A45}" dt="2024-08-02T13:36:16.754" v="530" actId="404"/>
          <ac:spMkLst>
            <pc:docMk/>
            <pc:sldMk cId="764447634" sldId="388"/>
            <ac:spMk id="86" creationId="{CF50EF4F-8114-5945-6C3A-E29EBB7BB471}"/>
          </ac:spMkLst>
        </pc:spChg>
        <pc:spChg chg="mod">
          <ac:chgData name="Barnes, Charlie" userId="36117f77-fae6-4fb3-806b-c6a759ac5abb" providerId="ADAL" clId="{A742C20C-F491-48A5-A623-4756A7634A45}" dt="2024-08-02T13:36:16.754" v="530" actId="404"/>
          <ac:spMkLst>
            <pc:docMk/>
            <pc:sldMk cId="764447634" sldId="388"/>
            <ac:spMk id="87" creationId="{08AD72A8-20D9-8AF4-97F5-B79E6EF33D39}"/>
          </ac:spMkLst>
        </pc:spChg>
        <pc:spChg chg="mod">
          <ac:chgData name="Barnes, Charlie" userId="36117f77-fae6-4fb3-806b-c6a759ac5abb" providerId="ADAL" clId="{A742C20C-F491-48A5-A623-4756A7634A45}" dt="2024-08-02T13:36:16.754" v="530" actId="404"/>
          <ac:spMkLst>
            <pc:docMk/>
            <pc:sldMk cId="764447634" sldId="388"/>
            <ac:spMk id="88" creationId="{65B70BFC-85B4-F874-91C2-B31432201B4F}"/>
          </ac:spMkLst>
        </pc:spChg>
        <pc:spChg chg="mod">
          <ac:chgData name="Barnes, Charlie" userId="36117f77-fae6-4fb3-806b-c6a759ac5abb" providerId="ADAL" clId="{A742C20C-F491-48A5-A623-4756A7634A45}" dt="2024-08-02T13:36:16.754" v="530" actId="404"/>
          <ac:spMkLst>
            <pc:docMk/>
            <pc:sldMk cId="764447634" sldId="388"/>
            <ac:spMk id="90" creationId="{7E66923D-5F8C-0F69-E8FB-94FA1F56D96E}"/>
          </ac:spMkLst>
        </pc:spChg>
        <pc:spChg chg="mod">
          <ac:chgData name="Barnes, Charlie" userId="36117f77-fae6-4fb3-806b-c6a759ac5abb" providerId="ADAL" clId="{A742C20C-F491-48A5-A623-4756A7634A45}" dt="2024-08-02T13:36:16.754" v="530" actId="404"/>
          <ac:spMkLst>
            <pc:docMk/>
            <pc:sldMk cId="764447634" sldId="388"/>
            <ac:spMk id="92" creationId="{F604CAFD-F55D-21F7-4E7D-D25D47DA23CB}"/>
          </ac:spMkLst>
        </pc:spChg>
        <pc:spChg chg="mod">
          <ac:chgData name="Barnes, Charlie" userId="36117f77-fae6-4fb3-806b-c6a759ac5abb" providerId="ADAL" clId="{A742C20C-F491-48A5-A623-4756A7634A45}" dt="2024-08-02T13:36:16.754" v="530" actId="404"/>
          <ac:spMkLst>
            <pc:docMk/>
            <pc:sldMk cId="764447634" sldId="388"/>
            <ac:spMk id="93" creationId="{3C850068-03FB-A004-7DD7-1D1B07F88CC8}"/>
          </ac:spMkLst>
        </pc:spChg>
        <pc:spChg chg="mod">
          <ac:chgData name="Barnes, Charlie" userId="36117f77-fae6-4fb3-806b-c6a759ac5abb" providerId="ADAL" clId="{A742C20C-F491-48A5-A623-4756A7634A45}" dt="2024-08-02T13:36:16.754" v="530" actId="404"/>
          <ac:spMkLst>
            <pc:docMk/>
            <pc:sldMk cId="764447634" sldId="388"/>
            <ac:spMk id="94" creationId="{BFCD9B40-FEEA-9D47-C80D-584DAE726FB0}"/>
          </ac:spMkLst>
        </pc:spChg>
        <pc:spChg chg="mod">
          <ac:chgData name="Barnes, Charlie" userId="36117f77-fae6-4fb3-806b-c6a759ac5abb" providerId="ADAL" clId="{A742C20C-F491-48A5-A623-4756A7634A45}" dt="2024-08-02T13:36:16.754" v="530" actId="404"/>
          <ac:spMkLst>
            <pc:docMk/>
            <pc:sldMk cId="764447634" sldId="388"/>
            <ac:spMk id="95" creationId="{F87D5C25-31E6-FD1A-D533-7DF8BBEFCF86}"/>
          </ac:spMkLst>
        </pc:spChg>
        <pc:spChg chg="mod">
          <ac:chgData name="Barnes, Charlie" userId="36117f77-fae6-4fb3-806b-c6a759ac5abb" providerId="ADAL" clId="{A742C20C-F491-48A5-A623-4756A7634A45}" dt="2024-08-02T13:36:16.754" v="530" actId="404"/>
          <ac:spMkLst>
            <pc:docMk/>
            <pc:sldMk cId="764447634" sldId="388"/>
            <ac:spMk id="96" creationId="{C5340CDE-F2C1-CB5A-32F8-65E6A1F6D7EC}"/>
          </ac:spMkLst>
        </pc:spChg>
        <pc:spChg chg="mod">
          <ac:chgData name="Barnes, Charlie" userId="36117f77-fae6-4fb3-806b-c6a759ac5abb" providerId="ADAL" clId="{A742C20C-F491-48A5-A623-4756A7634A45}" dt="2024-08-02T13:36:16.754" v="530" actId="404"/>
          <ac:spMkLst>
            <pc:docMk/>
            <pc:sldMk cId="764447634" sldId="388"/>
            <ac:spMk id="97" creationId="{10DC7B3A-0A48-80C1-2359-78781D147C41}"/>
          </ac:spMkLst>
        </pc:spChg>
        <pc:spChg chg="mod">
          <ac:chgData name="Barnes, Charlie" userId="36117f77-fae6-4fb3-806b-c6a759ac5abb" providerId="ADAL" clId="{A742C20C-F491-48A5-A623-4756A7634A45}" dt="2024-08-02T13:36:16.754" v="530" actId="404"/>
          <ac:spMkLst>
            <pc:docMk/>
            <pc:sldMk cId="764447634" sldId="388"/>
            <ac:spMk id="99" creationId="{2C183652-B299-CB5A-A3AB-BEF19B16E5EB}"/>
          </ac:spMkLst>
        </pc:spChg>
        <pc:spChg chg="mod">
          <ac:chgData name="Barnes, Charlie" userId="36117f77-fae6-4fb3-806b-c6a759ac5abb" providerId="ADAL" clId="{A742C20C-F491-48A5-A623-4756A7634A45}" dt="2024-08-02T13:36:16.754" v="530" actId="404"/>
          <ac:spMkLst>
            <pc:docMk/>
            <pc:sldMk cId="764447634" sldId="388"/>
            <ac:spMk id="101" creationId="{543CDFFE-6546-7DD5-91EF-3C6616092D65}"/>
          </ac:spMkLst>
        </pc:spChg>
        <pc:spChg chg="mod">
          <ac:chgData name="Barnes, Charlie" userId="36117f77-fae6-4fb3-806b-c6a759ac5abb" providerId="ADAL" clId="{A742C20C-F491-48A5-A623-4756A7634A45}" dt="2024-08-02T13:36:16.754" v="530" actId="404"/>
          <ac:spMkLst>
            <pc:docMk/>
            <pc:sldMk cId="764447634" sldId="388"/>
            <ac:spMk id="102" creationId="{B786B436-03E0-0589-95D1-19AA93174C82}"/>
          </ac:spMkLst>
        </pc:spChg>
        <pc:spChg chg="mod">
          <ac:chgData name="Barnes, Charlie" userId="36117f77-fae6-4fb3-806b-c6a759ac5abb" providerId="ADAL" clId="{A742C20C-F491-48A5-A623-4756A7634A45}" dt="2024-08-02T13:36:16.754" v="530" actId="404"/>
          <ac:spMkLst>
            <pc:docMk/>
            <pc:sldMk cId="764447634" sldId="388"/>
            <ac:spMk id="105" creationId="{040DA621-B7B6-A9CD-E0DF-E1C629061A20}"/>
          </ac:spMkLst>
        </pc:spChg>
        <pc:spChg chg="mod">
          <ac:chgData name="Barnes, Charlie" userId="36117f77-fae6-4fb3-806b-c6a759ac5abb" providerId="ADAL" clId="{A742C20C-F491-48A5-A623-4756A7634A45}" dt="2024-08-02T13:36:16.754" v="530" actId="404"/>
          <ac:spMkLst>
            <pc:docMk/>
            <pc:sldMk cId="764447634" sldId="388"/>
            <ac:spMk id="107" creationId="{1AA0C1CE-41FA-ADAE-135D-2F753E984D66}"/>
          </ac:spMkLst>
        </pc:spChg>
        <pc:spChg chg="mod">
          <ac:chgData name="Barnes, Charlie" userId="36117f77-fae6-4fb3-806b-c6a759ac5abb" providerId="ADAL" clId="{A742C20C-F491-48A5-A623-4756A7634A45}" dt="2024-08-02T13:36:16.754" v="530" actId="404"/>
          <ac:spMkLst>
            <pc:docMk/>
            <pc:sldMk cId="764447634" sldId="388"/>
            <ac:spMk id="108" creationId="{76E48F68-1FD6-836C-D08A-1B651D87700E}"/>
          </ac:spMkLst>
        </pc:spChg>
        <pc:spChg chg="mod">
          <ac:chgData name="Barnes, Charlie" userId="36117f77-fae6-4fb3-806b-c6a759ac5abb" providerId="ADAL" clId="{A742C20C-F491-48A5-A623-4756A7634A45}" dt="2024-08-02T13:36:16.754" v="530" actId="404"/>
          <ac:spMkLst>
            <pc:docMk/>
            <pc:sldMk cId="764447634" sldId="388"/>
            <ac:spMk id="109" creationId="{46836094-4183-B81D-34A0-652A08C5F687}"/>
          </ac:spMkLst>
        </pc:spChg>
        <pc:spChg chg="mod">
          <ac:chgData name="Barnes, Charlie" userId="36117f77-fae6-4fb3-806b-c6a759ac5abb" providerId="ADAL" clId="{A742C20C-F491-48A5-A623-4756A7634A45}" dt="2024-08-02T13:36:16.754" v="530" actId="404"/>
          <ac:spMkLst>
            <pc:docMk/>
            <pc:sldMk cId="764447634" sldId="388"/>
            <ac:spMk id="110" creationId="{27B98D1D-F906-EBEC-9392-D0876B30D6E0}"/>
          </ac:spMkLst>
        </pc:spChg>
        <pc:spChg chg="mod">
          <ac:chgData name="Barnes, Charlie" userId="36117f77-fae6-4fb3-806b-c6a759ac5abb" providerId="ADAL" clId="{A742C20C-F491-48A5-A623-4756A7634A45}" dt="2024-08-02T13:36:16.754" v="530" actId="404"/>
          <ac:spMkLst>
            <pc:docMk/>
            <pc:sldMk cId="764447634" sldId="388"/>
            <ac:spMk id="111" creationId="{4A562480-DC06-B40A-9325-B94E6097A3B7}"/>
          </ac:spMkLst>
        </pc:spChg>
        <pc:spChg chg="mod">
          <ac:chgData name="Barnes, Charlie" userId="36117f77-fae6-4fb3-806b-c6a759ac5abb" providerId="ADAL" clId="{A742C20C-F491-48A5-A623-4756A7634A45}" dt="2024-08-02T13:36:16.754" v="530" actId="404"/>
          <ac:spMkLst>
            <pc:docMk/>
            <pc:sldMk cId="764447634" sldId="388"/>
            <ac:spMk id="112" creationId="{15865988-E5CF-59C1-DB74-FE9E8E80F93F}"/>
          </ac:spMkLst>
        </pc:spChg>
        <pc:spChg chg="mod">
          <ac:chgData name="Barnes, Charlie" userId="36117f77-fae6-4fb3-806b-c6a759ac5abb" providerId="ADAL" clId="{A742C20C-F491-48A5-A623-4756A7634A45}" dt="2024-08-02T13:36:16.754" v="530" actId="404"/>
          <ac:spMkLst>
            <pc:docMk/>
            <pc:sldMk cId="764447634" sldId="388"/>
            <ac:spMk id="115" creationId="{B543EB82-90C6-8970-930F-4E955D868A84}"/>
          </ac:spMkLst>
        </pc:spChg>
        <pc:spChg chg="mod">
          <ac:chgData name="Barnes, Charlie" userId="36117f77-fae6-4fb3-806b-c6a759ac5abb" providerId="ADAL" clId="{A742C20C-F491-48A5-A623-4756A7634A45}" dt="2024-08-02T13:36:16.754" v="530" actId="404"/>
          <ac:spMkLst>
            <pc:docMk/>
            <pc:sldMk cId="764447634" sldId="388"/>
            <ac:spMk id="118" creationId="{969CECD3-D7C6-DA81-896D-FBD79D3384D3}"/>
          </ac:spMkLst>
        </pc:spChg>
        <pc:spChg chg="mod">
          <ac:chgData name="Barnes, Charlie" userId="36117f77-fae6-4fb3-806b-c6a759ac5abb" providerId="ADAL" clId="{A742C20C-F491-48A5-A623-4756A7634A45}" dt="2024-08-02T13:36:16.754" v="530" actId="404"/>
          <ac:spMkLst>
            <pc:docMk/>
            <pc:sldMk cId="764447634" sldId="388"/>
            <ac:spMk id="120" creationId="{C4965DA7-98A6-3462-B302-C155E185A0D0}"/>
          </ac:spMkLst>
        </pc:spChg>
        <pc:spChg chg="mod">
          <ac:chgData name="Barnes, Charlie" userId="36117f77-fae6-4fb3-806b-c6a759ac5abb" providerId="ADAL" clId="{A742C20C-F491-48A5-A623-4756A7634A45}" dt="2024-08-02T13:36:16.754" v="530" actId="404"/>
          <ac:spMkLst>
            <pc:docMk/>
            <pc:sldMk cId="764447634" sldId="388"/>
            <ac:spMk id="121" creationId="{40637C8E-0700-08D9-382D-6E8594820B01}"/>
          </ac:spMkLst>
        </pc:spChg>
        <pc:spChg chg="mod">
          <ac:chgData name="Barnes, Charlie" userId="36117f77-fae6-4fb3-806b-c6a759ac5abb" providerId="ADAL" clId="{A742C20C-F491-48A5-A623-4756A7634A45}" dt="2024-08-02T13:36:16.754" v="530" actId="404"/>
          <ac:spMkLst>
            <pc:docMk/>
            <pc:sldMk cId="764447634" sldId="388"/>
            <ac:spMk id="122" creationId="{31E9BE6B-DFAA-0381-5B4C-504ECEFA92F9}"/>
          </ac:spMkLst>
        </pc:spChg>
        <pc:spChg chg="mod">
          <ac:chgData name="Barnes, Charlie" userId="36117f77-fae6-4fb3-806b-c6a759ac5abb" providerId="ADAL" clId="{A742C20C-F491-48A5-A623-4756A7634A45}" dt="2024-08-02T13:36:16.754" v="530" actId="404"/>
          <ac:spMkLst>
            <pc:docMk/>
            <pc:sldMk cId="764447634" sldId="388"/>
            <ac:spMk id="123" creationId="{5055A556-13CD-8704-E1AB-5DBD2D69933C}"/>
          </ac:spMkLst>
        </pc:spChg>
        <pc:spChg chg="mod">
          <ac:chgData name="Barnes, Charlie" userId="36117f77-fae6-4fb3-806b-c6a759ac5abb" providerId="ADAL" clId="{A742C20C-F491-48A5-A623-4756A7634A45}" dt="2024-08-02T13:36:16.754" v="530" actId="404"/>
          <ac:spMkLst>
            <pc:docMk/>
            <pc:sldMk cId="764447634" sldId="388"/>
            <ac:spMk id="127" creationId="{2A108889-CCF3-F378-FC94-E14E2061EE2B}"/>
          </ac:spMkLst>
        </pc:spChg>
        <pc:spChg chg="mod">
          <ac:chgData name="Barnes, Charlie" userId="36117f77-fae6-4fb3-806b-c6a759ac5abb" providerId="ADAL" clId="{A742C20C-F491-48A5-A623-4756A7634A45}" dt="2024-08-02T13:36:16.754" v="530" actId="404"/>
          <ac:spMkLst>
            <pc:docMk/>
            <pc:sldMk cId="764447634" sldId="388"/>
            <ac:spMk id="128" creationId="{11BA6D1E-9154-A66A-A879-06E5CB9F15A0}"/>
          </ac:spMkLst>
        </pc:spChg>
        <pc:spChg chg="mod">
          <ac:chgData name="Barnes, Charlie" userId="36117f77-fae6-4fb3-806b-c6a759ac5abb" providerId="ADAL" clId="{A742C20C-F491-48A5-A623-4756A7634A45}" dt="2024-08-02T13:36:16.754" v="530" actId="404"/>
          <ac:spMkLst>
            <pc:docMk/>
            <pc:sldMk cId="764447634" sldId="388"/>
            <ac:spMk id="130" creationId="{F5631AC6-386E-E909-6A67-0FB3EF60A296}"/>
          </ac:spMkLst>
        </pc:spChg>
        <pc:spChg chg="mod">
          <ac:chgData name="Barnes, Charlie" userId="36117f77-fae6-4fb3-806b-c6a759ac5abb" providerId="ADAL" clId="{A742C20C-F491-48A5-A623-4756A7634A45}" dt="2024-08-02T13:36:16.754" v="530" actId="404"/>
          <ac:spMkLst>
            <pc:docMk/>
            <pc:sldMk cId="764447634" sldId="388"/>
            <ac:spMk id="131" creationId="{276C87DF-97CB-D082-D4C5-BACF486ABA4E}"/>
          </ac:spMkLst>
        </pc:spChg>
        <pc:spChg chg="mod">
          <ac:chgData name="Barnes, Charlie" userId="36117f77-fae6-4fb3-806b-c6a759ac5abb" providerId="ADAL" clId="{A742C20C-F491-48A5-A623-4756A7634A45}" dt="2024-08-02T13:36:16.754" v="530" actId="404"/>
          <ac:spMkLst>
            <pc:docMk/>
            <pc:sldMk cId="764447634" sldId="388"/>
            <ac:spMk id="133" creationId="{660F5279-D741-FD48-1171-504AE6C5BD18}"/>
          </ac:spMkLst>
        </pc:spChg>
        <pc:spChg chg="mod">
          <ac:chgData name="Barnes, Charlie" userId="36117f77-fae6-4fb3-806b-c6a759ac5abb" providerId="ADAL" clId="{A742C20C-F491-48A5-A623-4756A7634A45}" dt="2024-08-02T13:36:16.754" v="530" actId="404"/>
          <ac:spMkLst>
            <pc:docMk/>
            <pc:sldMk cId="764447634" sldId="388"/>
            <ac:spMk id="137" creationId="{A087AB4B-6831-22D6-0D0C-FABB8899D41C}"/>
          </ac:spMkLst>
        </pc:spChg>
        <pc:spChg chg="mod">
          <ac:chgData name="Barnes, Charlie" userId="36117f77-fae6-4fb3-806b-c6a759ac5abb" providerId="ADAL" clId="{A742C20C-F491-48A5-A623-4756A7634A45}" dt="2024-08-02T13:36:16.801" v="531" actId="27636"/>
          <ac:spMkLst>
            <pc:docMk/>
            <pc:sldMk cId="764447634" sldId="388"/>
            <ac:spMk id="140" creationId="{B138AA09-3D11-C652-86D9-0AC68E5F1D96}"/>
          </ac:spMkLst>
        </pc:spChg>
        <pc:spChg chg="mod">
          <ac:chgData name="Barnes, Charlie" userId="36117f77-fae6-4fb3-806b-c6a759ac5abb" providerId="ADAL" clId="{A742C20C-F491-48A5-A623-4756A7634A45}" dt="2024-08-02T13:36:16.801" v="531" actId="27636"/>
          <ac:spMkLst>
            <pc:docMk/>
            <pc:sldMk cId="764447634" sldId="388"/>
            <ac:spMk id="142" creationId="{9DE92BB9-0E6E-A2F6-726C-9E18631E2A74}"/>
          </ac:spMkLst>
        </pc:spChg>
        <pc:spChg chg="mod">
          <ac:chgData name="Barnes, Charlie" userId="36117f77-fae6-4fb3-806b-c6a759ac5abb" providerId="ADAL" clId="{A742C20C-F491-48A5-A623-4756A7634A45}" dt="2024-08-02T13:36:16.754" v="530" actId="404"/>
          <ac:spMkLst>
            <pc:docMk/>
            <pc:sldMk cId="764447634" sldId="388"/>
            <ac:spMk id="143" creationId="{F2786DE0-746D-391E-145C-A9D13FB15AC7}"/>
          </ac:spMkLst>
        </pc:spChg>
        <pc:spChg chg="mod">
          <ac:chgData name="Barnes, Charlie" userId="36117f77-fae6-4fb3-806b-c6a759ac5abb" providerId="ADAL" clId="{A742C20C-F491-48A5-A623-4756A7634A45}" dt="2024-08-02T13:36:16.754" v="530" actId="404"/>
          <ac:spMkLst>
            <pc:docMk/>
            <pc:sldMk cId="764447634" sldId="388"/>
            <ac:spMk id="144" creationId="{EEB3B1C6-C9DC-47A9-8B31-EA7AF289EF2A}"/>
          </ac:spMkLst>
        </pc:spChg>
        <pc:spChg chg="mod">
          <ac:chgData name="Barnes, Charlie" userId="36117f77-fae6-4fb3-806b-c6a759ac5abb" providerId="ADAL" clId="{A742C20C-F491-48A5-A623-4756A7634A45}" dt="2024-08-02T13:36:23.566" v="542" actId="1038"/>
          <ac:spMkLst>
            <pc:docMk/>
            <pc:sldMk cId="764447634" sldId="388"/>
            <ac:spMk id="145" creationId="{E559E2B5-0166-2D1D-F0AB-75B35AD83D97}"/>
          </ac:spMkLst>
        </pc:spChg>
        <pc:spChg chg="mod">
          <ac:chgData name="Barnes, Charlie" userId="36117f77-fae6-4fb3-806b-c6a759ac5abb" providerId="ADAL" clId="{A742C20C-F491-48A5-A623-4756A7634A45}" dt="2024-08-02T13:36:22.115" v="538" actId="1038"/>
          <ac:spMkLst>
            <pc:docMk/>
            <pc:sldMk cId="764447634" sldId="388"/>
            <ac:spMk id="146" creationId="{1C609AB1-AF5A-A68D-CD3C-1ACE602A92AA}"/>
          </ac:spMkLst>
        </pc:spChg>
        <pc:spChg chg="mod">
          <ac:chgData name="Barnes, Charlie" userId="36117f77-fae6-4fb3-806b-c6a759ac5abb" providerId="ADAL" clId="{A742C20C-F491-48A5-A623-4756A7634A45}" dt="2024-08-02T13:36:16.754" v="530" actId="404"/>
          <ac:spMkLst>
            <pc:docMk/>
            <pc:sldMk cId="764447634" sldId="388"/>
            <ac:spMk id="148" creationId="{01C76363-E9DB-4D8F-BC65-161B2C380B56}"/>
          </ac:spMkLst>
        </pc:spChg>
        <pc:grpChg chg="mod">
          <ac:chgData name="Barnes, Charlie" userId="36117f77-fae6-4fb3-806b-c6a759ac5abb" providerId="ADAL" clId="{A742C20C-F491-48A5-A623-4756A7634A45}" dt="2024-08-02T13:36:16.754" v="530" actId="404"/>
          <ac:grpSpMkLst>
            <pc:docMk/>
            <pc:sldMk cId="764447634" sldId="388"/>
            <ac:grpSpMk id="32" creationId="{DDE90FF7-2B06-1337-3881-7661430E6CFE}"/>
          </ac:grpSpMkLst>
        </pc:grpChg>
        <pc:grpChg chg="mod">
          <ac:chgData name="Barnes, Charlie" userId="36117f77-fae6-4fb3-806b-c6a759ac5abb" providerId="ADAL" clId="{A742C20C-F491-48A5-A623-4756A7634A45}" dt="2024-08-02T13:36:16.754" v="530" actId="404"/>
          <ac:grpSpMkLst>
            <pc:docMk/>
            <pc:sldMk cId="764447634" sldId="388"/>
            <ac:grpSpMk id="64" creationId="{F0474B7C-08BD-7F6E-1B59-12A5C2EDA221}"/>
          </ac:grpSpMkLst>
        </pc:grpChg>
        <pc:grpChg chg="mod">
          <ac:chgData name="Barnes, Charlie" userId="36117f77-fae6-4fb3-806b-c6a759ac5abb" providerId="ADAL" clId="{A742C20C-F491-48A5-A623-4756A7634A45}" dt="2024-08-02T13:36:16.754" v="530" actId="404"/>
          <ac:grpSpMkLst>
            <pc:docMk/>
            <pc:sldMk cId="764447634" sldId="388"/>
            <ac:grpSpMk id="73" creationId="{9EC7D008-6620-654E-8510-3C3A58F9BD55}"/>
          </ac:grpSpMkLst>
        </pc:grpChg>
        <pc:grpChg chg="mod">
          <ac:chgData name="Barnes, Charlie" userId="36117f77-fae6-4fb3-806b-c6a759ac5abb" providerId="ADAL" clId="{A742C20C-F491-48A5-A623-4756A7634A45}" dt="2024-08-02T13:36:16.754" v="530" actId="404"/>
          <ac:grpSpMkLst>
            <pc:docMk/>
            <pc:sldMk cId="764447634" sldId="388"/>
            <ac:grpSpMk id="82" creationId="{6FE8ED9F-1396-977E-FBFD-98C2E81E459C}"/>
          </ac:grpSpMkLst>
        </pc:grpChg>
        <pc:grpChg chg="mod">
          <ac:chgData name="Barnes, Charlie" userId="36117f77-fae6-4fb3-806b-c6a759ac5abb" providerId="ADAL" clId="{A742C20C-F491-48A5-A623-4756A7634A45}" dt="2024-08-02T13:36:16.754" v="530" actId="404"/>
          <ac:grpSpMkLst>
            <pc:docMk/>
            <pc:sldMk cId="764447634" sldId="388"/>
            <ac:grpSpMk id="91" creationId="{F748E091-F98D-96ED-E43B-137ED56388A6}"/>
          </ac:grpSpMkLst>
        </pc:grpChg>
        <pc:grpChg chg="mod">
          <ac:chgData name="Barnes, Charlie" userId="36117f77-fae6-4fb3-806b-c6a759ac5abb" providerId="ADAL" clId="{A742C20C-F491-48A5-A623-4756A7634A45}" dt="2024-08-02T13:36:16.754" v="530" actId="404"/>
          <ac:grpSpMkLst>
            <pc:docMk/>
            <pc:sldMk cId="764447634" sldId="388"/>
            <ac:grpSpMk id="100" creationId="{30FC8E6B-AE3E-B1C8-D2BE-B07B53477614}"/>
          </ac:grpSpMkLst>
        </pc:grpChg>
        <pc:grpChg chg="mod">
          <ac:chgData name="Barnes, Charlie" userId="36117f77-fae6-4fb3-806b-c6a759ac5abb" providerId="ADAL" clId="{A742C20C-F491-48A5-A623-4756A7634A45}" dt="2024-08-02T13:36:16.754" v="530" actId="404"/>
          <ac:grpSpMkLst>
            <pc:docMk/>
            <pc:sldMk cId="764447634" sldId="388"/>
            <ac:grpSpMk id="106" creationId="{F47B0FB1-6A59-5AB4-D439-EBE4FAD25CE9}"/>
          </ac:grpSpMkLst>
        </pc:grpChg>
        <pc:grpChg chg="mod">
          <ac:chgData name="Barnes, Charlie" userId="36117f77-fae6-4fb3-806b-c6a759ac5abb" providerId="ADAL" clId="{A742C20C-F491-48A5-A623-4756A7634A45}" dt="2024-08-02T13:36:16.754" v="530" actId="404"/>
          <ac:grpSpMkLst>
            <pc:docMk/>
            <pc:sldMk cId="764447634" sldId="388"/>
            <ac:grpSpMk id="117" creationId="{590F72B8-CE68-9366-1394-81771D8975D0}"/>
          </ac:grpSpMkLst>
        </pc:grpChg>
        <pc:grpChg chg="mod">
          <ac:chgData name="Barnes, Charlie" userId="36117f77-fae6-4fb3-806b-c6a759ac5abb" providerId="ADAL" clId="{A742C20C-F491-48A5-A623-4756A7634A45}" dt="2024-08-02T13:36:16.754" v="530" actId="404"/>
          <ac:grpSpMkLst>
            <pc:docMk/>
            <pc:sldMk cId="764447634" sldId="388"/>
            <ac:grpSpMk id="119" creationId="{4BF89FF0-C450-3C06-A06D-2EACE2FAFBE5}"/>
          </ac:grpSpMkLst>
        </pc:grpChg>
        <pc:grpChg chg="mod">
          <ac:chgData name="Barnes, Charlie" userId="36117f77-fae6-4fb3-806b-c6a759ac5abb" providerId="ADAL" clId="{A742C20C-F491-48A5-A623-4756A7634A45}" dt="2024-08-02T13:36:16.801" v="531" actId="27636"/>
          <ac:grpSpMkLst>
            <pc:docMk/>
            <pc:sldMk cId="764447634" sldId="388"/>
            <ac:grpSpMk id="141" creationId="{FE0DE150-D9A7-9122-A554-3B2E8F2AB405}"/>
          </ac:grpSpMkLst>
        </pc:grpChg>
        <pc:grpChg chg="mod">
          <ac:chgData name="Barnes, Charlie" userId="36117f77-fae6-4fb3-806b-c6a759ac5abb" providerId="ADAL" clId="{A742C20C-F491-48A5-A623-4756A7634A45}" dt="2024-08-02T13:36:16.754" v="530" actId="404"/>
          <ac:grpSpMkLst>
            <pc:docMk/>
            <pc:sldMk cId="764447634" sldId="388"/>
            <ac:grpSpMk id="147" creationId="{AADA84F0-2F45-1CB8-B708-E5E01660458D}"/>
          </ac:grpSpMkLst>
        </pc:grpChg>
        <pc:grpChg chg="mod">
          <ac:chgData name="Barnes, Charlie" userId="36117f77-fae6-4fb3-806b-c6a759ac5abb" providerId="ADAL" clId="{A742C20C-F491-48A5-A623-4756A7634A45}" dt="2024-08-02T13:36:16.801" v="531" actId="27636"/>
          <ac:grpSpMkLst>
            <pc:docMk/>
            <pc:sldMk cId="764447634" sldId="388"/>
            <ac:grpSpMk id="149" creationId="{69B3BA3D-A604-213E-3D12-0B6A2B49D68E}"/>
          </ac:grpSpMkLst>
        </pc:grpChg>
        <pc:picChg chg="mod">
          <ac:chgData name="Barnes, Charlie" userId="36117f77-fae6-4fb3-806b-c6a759ac5abb" providerId="ADAL" clId="{A742C20C-F491-48A5-A623-4756A7634A45}" dt="2024-08-02T13:36:16.801" v="531" actId="27636"/>
          <ac:picMkLst>
            <pc:docMk/>
            <pc:sldMk cId="764447634" sldId="388"/>
            <ac:picMk id="5" creationId="{8BB23535-3289-4D31-9DD8-3C68EA6DFFDA}"/>
          </ac:picMkLst>
        </pc:picChg>
        <pc:picChg chg="mod">
          <ac:chgData name="Barnes, Charlie" userId="36117f77-fae6-4fb3-806b-c6a759ac5abb" providerId="ADAL" clId="{A742C20C-F491-48A5-A623-4756A7634A45}" dt="2024-08-02T13:36:16.754" v="530" actId="404"/>
          <ac:picMkLst>
            <pc:docMk/>
            <pc:sldMk cId="764447634" sldId="388"/>
            <ac:picMk id="57" creationId="{1F1096B6-F0FD-3650-F9E4-5B3CB830BCC1}"/>
          </ac:picMkLst>
        </pc:picChg>
        <pc:picChg chg="mod">
          <ac:chgData name="Barnes, Charlie" userId="36117f77-fae6-4fb3-806b-c6a759ac5abb" providerId="ADAL" clId="{A742C20C-F491-48A5-A623-4756A7634A45}" dt="2024-08-02T13:36:16.754" v="530" actId="404"/>
          <ac:picMkLst>
            <pc:docMk/>
            <pc:sldMk cId="764447634" sldId="388"/>
            <ac:picMk id="58" creationId="{E23DB795-C5D3-6CC9-1391-66D8B2FD20DB}"/>
          </ac:picMkLst>
        </pc:picChg>
        <pc:picChg chg="mod">
          <ac:chgData name="Barnes, Charlie" userId="36117f77-fae6-4fb3-806b-c6a759ac5abb" providerId="ADAL" clId="{A742C20C-F491-48A5-A623-4756A7634A45}" dt="2024-08-02T13:36:16.754" v="530" actId="404"/>
          <ac:picMkLst>
            <pc:docMk/>
            <pc:sldMk cId="764447634" sldId="388"/>
            <ac:picMk id="59" creationId="{57DB8350-B993-D28E-8055-A3D309AD265A}"/>
          </ac:picMkLst>
        </pc:picChg>
        <pc:picChg chg="mod">
          <ac:chgData name="Barnes, Charlie" userId="36117f77-fae6-4fb3-806b-c6a759ac5abb" providerId="ADAL" clId="{A742C20C-F491-48A5-A623-4756A7634A45}" dt="2024-08-02T13:36:16.754" v="530" actId="404"/>
          <ac:picMkLst>
            <pc:docMk/>
            <pc:sldMk cId="764447634" sldId="388"/>
            <ac:picMk id="60" creationId="{69663FE4-55F7-F961-5720-2F9456B7A111}"/>
          </ac:picMkLst>
        </pc:picChg>
        <pc:picChg chg="mod">
          <ac:chgData name="Barnes, Charlie" userId="36117f77-fae6-4fb3-806b-c6a759ac5abb" providerId="ADAL" clId="{A742C20C-F491-48A5-A623-4756A7634A45}" dt="2024-08-02T13:36:16.754" v="530" actId="404"/>
          <ac:picMkLst>
            <pc:docMk/>
            <pc:sldMk cId="764447634" sldId="388"/>
            <ac:picMk id="61" creationId="{331A2ACA-7610-2C92-7ED5-3D8005CD7F55}"/>
          </ac:picMkLst>
        </pc:picChg>
        <pc:picChg chg="mod">
          <ac:chgData name="Barnes, Charlie" userId="36117f77-fae6-4fb3-806b-c6a759ac5abb" providerId="ADAL" clId="{A742C20C-F491-48A5-A623-4756A7634A45}" dt="2024-08-02T13:36:16.754" v="530" actId="404"/>
          <ac:picMkLst>
            <pc:docMk/>
            <pc:sldMk cId="764447634" sldId="388"/>
            <ac:picMk id="62" creationId="{23DCD736-DF3F-8C23-FCC7-5784E8F44023}"/>
          </ac:picMkLst>
        </pc:picChg>
        <pc:picChg chg="mod">
          <ac:chgData name="Barnes, Charlie" userId="36117f77-fae6-4fb3-806b-c6a759ac5abb" providerId="ADAL" clId="{A742C20C-F491-48A5-A623-4756A7634A45}" dt="2024-08-02T13:36:16.754" v="530" actId="404"/>
          <ac:picMkLst>
            <pc:docMk/>
            <pc:sldMk cId="764447634" sldId="388"/>
            <ac:picMk id="69" creationId="{373DC4FC-EC87-BE17-222C-324F9FBD44A3}"/>
          </ac:picMkLst>
        </pc:picChg>
        <pc:picChg chg="mod">
          <ac:chgData name="Barnes, Charlie" userId="36117f77-fae6-4fb3-806b-c6a759ac5abb" providerId="ADAL" clId="{A742C20C-F491-48A5-A623-4756A7634A45}" dt="2024-08-02T13:36:16.754" v="530" actId="404"/>
          <ac:picMkLst>
            <pc:docMk/>
            <pc:sldMk cId="764447634" sldId="388"/>
            <ac:picMk id="70" creationId="{FB5194A5-2DF0-CC21-F4CF-E86F53C8EA99}"/>
          </ac:picMkLst>
        </pc:picChg>
        <pc:picChg chg="mod">
          <ac:chgData name="Barnes, Charlie" userId="36117f77-fae6-4fb3-806b-c6a759ac5abb" providerId="ADAL" clId="{A742C20C-F491-48A5-A623-4756A7634A45}" dt="2024-08-02T13:36:16.754" v="530" actId="404"/>
          <ac:picMkLst>
            <pc:docMk/>
            <pc:sldMk cId="764447634" sldId="388"/>
            <ac:picMk id="79" creationId="{5CF3E8BF-4DDA-BF40-17C8-4BECF61B7FF0}"/>
          </ac:picMkLst>
        </pc:picChg>
        <pc:picChg chg="mod">
          <ac:chgData name="Barnes, Charlie" userId="36117f77-fae6-4fb3-806b-c6a759ac5abb" providerId="ADAL" clId="{A742C20C-F491-48A5-A623-4756A7634A45}" dt="2024-08-02T13:36:16.754" v="530" actId="404"/>
          <ac:picMkLst>
            <pc:docMk/>
            <pc:sldMk cId="764447634" sldId="388"/>
            <ac:picMk id="89" creationId="{18F702DC-CD68-17C9-4368-1F864B515B3F}"/>
          </ac:picMkLst>
        </pc:picChg>
        <pc:picChg chg="mod">
          <ac:chgData name="Barnes, Charlie" userId="36117f77-fae6-4fb3-806b-c6a759ac5abb" providerId="ADAL" clId="{A742C20C-F491-48A5-A623-4756A7634A45}" dt="2024-08-02T13:36:16.754" v="530" actId="404"/>
          <ac:picMkLst>
            <pc:docMk/>
            <pc:sldMk cId="764447634" sldId="388"/>
            <ac:picMk id="103" creationId="{D1D849DD-A067-445F-7B33-E77C4BD259E3}"/>
          </ac:picMkLst>
        </pc:picChg>
        <pc:picChg chg="mod">
          <ac:chgData name="Barnes, Charlie" userId="36117f77-fae6-4fb3-806b-c6a759ac5abb" providerId="ADAL" clId="{A742C20C-F491-48A5-A623-4756A7634A45}" dt="2024-08-02T13:36:16.754" v="530" actId="404"/>
          <ac:picMkLst>
            <pc:docMk/>
            <pc:sldMk cId="764447634" sldId="388"/>
            <ac:picMk id="104" creationId="{5EDEC89D-BF0D-ACFF-AF58-72E419FEC2C8}"/>
          </ac:picMkLst>
        </pc:picChg>
        <pc:picChg chg="mod">
          <ac:chgData name="Barnes, Charlie" userId="36117f77-fae6-4fb3-806b-c6a759ac5abb" providerId="ADAL" clId="{A742C20C-F491-48A5-A623-4756A7634A45}" dt="2024-08-02T13:36:16.754" v="530" actId="404"/>
          <ac:picMkLst>
            <pc:docMk/>
            <pc:sldMk cId="764447634" sldId="388"/>
            <ac:picMk id="113" creationId="{0803DB05-570D-6F20-C47A-FF51A5E0227C}"/>
          </ac:picMkLst>
        </pc:picChg>
        <pc:picChg chg="mod">
          <ac:chgData name="Barnes, Charlie" userId="36117f77-fae6-4fb3-806b-c6a759ac5abb" providerId="ADAL" clId="{A742C20C-F491-48A5-A623-4756A7634A45}" dt="2024-08-02T13:36:16.754" v="530" actId="404"/>
          <ac:picMkLst>
            <pc:docMk/>
            <pc:sldMk cId="764447634" sldId="388"/>
            <ac:picMk id="114" creationId="{52E32D01-74E7-102F-B1A8-401107814532}"/>
          </ac:picMkLst>
        </pc:picChg>
        <pc:picChg chg="mod">
          <ac:chgData name="Barnes, Charlie" userId="36117f77-fae6-4fb3-806b-c6a759ac5abb" providerId="ADAL" clId="{A742C20C-F491-48A5-A623-4756A7634A45}" dt="2024-08-02T13:36:16.754" v="530" actId="404"/>
          <ac:picMkLst>
            <pc:docMk/>
            <pc:sldMk cId="764447634" sldId="388"/>
            <ac:picMk id="116" creationId="{2B0911AB-6B97-18EE-6613-DA3B7703E941}"/>
          </ac:picMkLst>
        </pc:picChg>
        <pc:picChg chg="mod">
          <ac:chgData name="Barnes, Charlie" userId="36117f77-fae6-4fb3-806b-c6a759ac5abb" providerId="ADAL" clId="{A742C20C-F491-48A5-A623-4756A7634A45}" dt="2024-08-02T13:36:16.754" v="530" actId="404"/>
          <ac:picMkLst>
            <pc:docMk/>
            <pc:sldMk cId="764447634" sldId="388"/>
            <ac:picMk id="124" creationId="{9027613E-B17C-8E0E-B30A-EC8A86BC3F4B}"/>
          </ac:picMkLst>
        </pc:picChg>
        <pc:picChg chg="mod">
          <ac:chgData name="Barnes, Charlie" userId="36117f77-fae6-4fb3-806b-c6a759ac5abb" providerId="ADAL" clId="{A742C20C-F491-48A5-A623-4756A7634A45}" dt="2024-08-02T13:36:16.754" v="530" actId="404"/>
          <ac:picMkLst>
            <pc:docMk/>
            <pc:sldMk cId="764447634" sldId="388"/>
            <ac:picMk id="125" creationId="{251A4ADA-D5BC-7E12-A61E-3DC6CE946F6F}"/>
          </ac:picMkLst>
        </pc:picChg>
        <pc:picChg chg="mod">
          <ac:chgData name="Barnes, Charlie" userId="36117f77-fae6-4fb3-806b-c6a759ac5abb" providerId="ADAL" clId="{A742C20C-F491-48A5-A623-4756A7634A45}" dt="2024-08-02T13:36:16.754" v="530" actId="404"/>
          <ac:picMkLst>
            <pc:docMk/>
            <pc:sldMk cId="764447634" sldId="388"/>
            <ac:picMk id="126" creationId="{D80BFD83-F5FE-8902-6277-B6A5F838D04C}"/>
          </ac:picMkLst>
        </pc:picChg>
        <pc:picChg chg="mod">
          <ac:chgData name="Barnes, Charlie" userId="36117f77-fae6-4fb3-806b-c6a759ac5abb" providerId="ADAL" clId="{A742C20C-F491-48A5-A623-4756A7634A45}" dt="2024-08-02T13:36:16.754" v="530" actId="404"/>
          <ac:picMkLst>
            <pc:docMk/>
            <pc:sldMk cId="764447634" sldId="388"/>
            <ac:picMk id="132" creationId="{4B34D695-17A5-5285-E411-81E74D23F01F}"/>
          </ac:picMkLst>
        </pc:picChg>
        <pc:picChg chg="mod">
          <ac:chgData name="Barnes, Charlie" userId="36117f77-fae6-4fb3-806b-c6a759ac5abb" providerId="ADAL" clId="{A742C20C-F491-48A5-A623-4756A7634A45}" dt="2024-08-02T13:36:16.754" v="530" actId="404"/>
          <ac:picMkLst>
            <pc:docMk/>
            <pc:sldMk cId="764447634" sldId="388"/>
            <ac:picMk id="134" creationId="{16C15A2E-DDBD-B115-58F3-A0C9A8F0FA7B}"/>
          </ac:picMkLst>
        </pc:picChg>
        <pc:picChg chg="mod">
          <ac:chgData name="Barnes, Charlie" userId="36117f77-fae6-4fb3-806b-c6a759ac5abb" providerId="ADAL" clId="{A742C20C-F491-48A5-A623-4756A7634A45}" dt="2024-08-02T13:36:16.754" v="530" actId="404"/>
          <ac:picMkLst>
            <pc:docMk/>
            <pc:sldMk cId="764447634" sldId="388"/>
            <ac:picMk id="135" creationId="{F95F4C67-386F-3375-0E63-2D091FF2597C}"/>
          </ac:picMkLst>
        </pc:picChg>
        <pc:picChg chg="mod">
          <ac:chgData name="Barnes, Charlie" userId="36117f77-fae6-4fb3-806b-c6a759ac5abb" providerId="ADAL" clId="{A742C20C-F491-48A5-A623-4756A7634A45}" dt="2024-08-02T13:36:16.754" v="530" actId="404"/>
          <ac:picMkLst>
            <pc:docMk/>
            <pc:sldMk cId="764447634" sldId="388"/>
            <ac:picMk id="136" creationId="{85832B54-2021-2631-11C8-2CBBAF27D8E5}"/>
          </ac:picMkLst>
        </pc:picChg>
        <pc:picChg chg="mod">
          <ac:chgData name="Barnes, Charlie" userId="36117f77-fae6-4fb3-806b-c6a759ac5abb" providerId="ADAL" clId="{A742C20C-F491-48A5-A623-4756A7634A45}" dt="2024-08-02T13:36:16.754" v="530" actId="404"/>
          <ac:picMkLst>
            <pc:docMk/>
            <pc:sldMk cId="764447634" sldId="388"/>
            <ac:picMk id="138" creationId="{EDA7042F-81D9-7AFF-F9AB-6EB6BED6DFAD}"/>
          </ac:picMkLst>
        </pc:picChg>
        <pc:picChg chg="mod">
          <ac:chgData name="Barnes, Charlie" userId="36117f77-fae6-4fb3-806b-c6a759ac5abb" providerId="ADAL" clId="{A742C20C-F491-48A5-A623-4756A7634A45}" dt="2024-08-02T13:36:16.801" v="531" actId="27636"/>
          <ac:picMkLst>
            <pc:docMk/>
            <pc:sldMk cId="764447634" sldId="388"/>
            <ac:picMk id="1026" creationId="{9831A9B8-F3C6-805C-D81E-79897AFBCD62}"/>
          </ac:picMkLst>
        </pc:picChg>
        <pc:picChg chg="mod">
          <ac:chgData name="Barnes, Charlie" userId="36117f77-fae6-4fb3-806b-c6a759ac5abb" providerId="ADAL" clId="{A742C20C-F491-48A5-A623-4756A7634A45}" dt="2024-08-02T13:36:16.801" v="531" actId="27636"/>
          <ac:picMkLst>
            <pc:docMk/>
            <pc:sldMk cId="764447634" sldId="388"/>
            <ac:picMk id="1028" creationId="{B841BD61-ECC6-BA46-534C-CD01FB3DBCA8}"/>
          </ac:picMkLst>
        </pc:picChg>
      </pc:sldChg>
      <pc:sldChg chg="modSp mod modCm">
        <pc:chgData name="Barnes, Charlie" userId="36117f77-fae6-4fb3-806b-c6a759ac5abb" providerId="ADAL" clId="{A742C20C-F491-48A5-A623-4756A7634A45}" dt="2024-08-02T13:37:07.283" v="599"/>
        <pc:sldMkLst>
          <pc:docMk/>
          <pc:sldMk cId="3585571724" sldId="389"/>
        </pc:sldMkLst>
        <pc:spChg chg="mod">
          <ac:chgData name="Barnes, Charlie" userId="36117f77-fae6-4fb3-806b-c6a759ac5abb" providerId="ADAL" clId="{A742C20C-F491-48A5-A623-4756A7634A45}" dt="2024-08-02T13:36:33.564" v="556" actId="27636"/>
          <ac:spMkLst>
            <pc:docMk/>
            <pc:sldMk cId="3585571724" sldId="389"/>
            <ac:spMk id="2" creationId="{4657E047-2582-133B-6B45-C6F76C520C4B}"/>
          </ac:spMkLst>
        </pc:spChg>
        <pc:spChg chg="mod">
          <ac:chgData name="Barnes, Charlie" userId="36117f77-fae6-4fb3-806b-c6a759ac5abb" providerId="ADAL" clId="{A742C20C-F491-48A5-A623-4756A7634A45}" dt="2024-08-02T13:36:33.564" v="556" actId="27636"/>
          <ac:spMkLst>
            <pc:docMk/>
            <pc:sldMk cId="3585571724" sldId="389"/>
            <ac:spMk id="4" creationId="{A80AECCB-2D95-7899-BF77-D75CA9384726}"/>
          </ac:spMkLst>
        </pc:spChg>
        <pc:spChg chg="mod">
          <ac:chgData name="Barnes, Charlie" userId="36117f77-fae6-4fb3-806b-c6a759ac5abb" providerId="ADAL" clId="{A742C20C-F491-48A5-A623-4756A7634A45}" dt="2024-08-02T13:36:33.564" v="556" actId="27636"/>
          <ac:spMkLst>
            <pc:docMk/>
            <pc:sldMk cId="3585571724" sldId="389"/>
            <ac:spMk id="9" creationId="{F2A847F5-76A6-DB8D-0FBA-E6C8900A5959}"/>
          </ac:spMkLst>
        </pc:spChg>
        <pc:spChg chg="mod">
          <ac:chgData name="Barnes, Charlie" userId="36117f77-fae6-4fb3-806b-c6a759ac5abb" providerId="ADAL" clId="{A742C20C-F491-48A5-A623-4756A7634A45}" dt="2024-08-02T13:36:33.564" v="556" actId="27636"/>
          <ac:spMkLst>
            <pc:docMk/>
            <pc:sldMk cId="3585571724" sldId="389"/>
            <ac:spMk id="34" creationId="{C98A8EFF-D5AF-7175-920B-8C69F8CE5FF3}"/>
          </ac:spMkLst>
        </pc:spChg>
        <pc:spChg chg="mod">
          <ac:chgData name="Barnes, Charlie" userId="36117f77-fae6-4fb3-806b-c6a759ac5abb" providerId="ADAL" clId="{A742C20C-F491-48A5-A623-4756A7634A45}" dt="2024-08-02T13:36:33.564" v="556" actId="27636"/>
          <ac:spMkLst>
            <pc:docMk/>
            <pc:sldMk cId="3585571724" sldId="389"/>
            <ac:spMk id="42" creationId="{9E497875-4A64-1E2E-7E70-58A8E13D628C}"/>
          </ac:spMkLst>
        </pc:spChg>
        <pc:spChg chg="mod">
          <ac:chgData name="Barnes, Charlie" userId="36117f77-fae6-4fb3-806b-c6a759ac5abb" providerId="ADAL" clId="{A742C20C-F491-48A5-A623-4756A7634A45}" dt="2024-08-02T13:36:33.564" v="556" actId="27636"/>
          <ac:spMkLst>
            <pc:docMk/>
            <pc:sldMk cId="3585571724" sldId="389"/>
            <ac:spMk id="43" creationId="{0E838430-7344-EEAB-3957-71A8BAF9CD8C}"/>
          </ac:spMkLst>
        </pc:spChg>
        <pc:spChg chg="mod">
          <ac:chgData name="Barnes, Charlie" userId="36117f77-fae6-4fb3-806b-c6a759ac5abb" providerId="ADAL" clId="{A742C20C-F491-48A5-A623-4756A7634A45}" dt="2024-08-02T13:36:33.543" v="555" actId="404"/>
          <ac:spMkLst>
            <pc:docMk/>
            <pc:sldMk cId="3585571724" sldId="389"/>
            <ac:spMk id="45" creationId="{02AD4CFF-2A21-8389-1399-88DD4CB2E691}"/>
          </ac:spMkLst>
        </pc:spChg>
        <pc:spChg chg="mod">
          <ac:chgData name="Barnes, Charlie" userId="36117f77-fae6-4fb3-806b-c6a759ac5abb" providerId="ADAL" clId="{A742C20C-F491-48A5-A623-4756A7634A45}" dt="2024-08-02T13:36:33.543" v="555" actId="404"/>
          <ac:spMkLst>
            <pc:docMk/>
            <pc:sldMk cId="3585571724" sldId="389"/>
            <ac:spMk id="46" creationId="{CBC3698F-87E4-1EE0-05AE-1B2FEF9DAD16}"/>
          </ac:spMkLst>
        </pc:spChg>
        <pc:spChg chg="mod">
          <ac:chgData name="Barnes, Charlie" userId="36117f77-fae6-4fb3-806b-c6a759ac5abb" providerId="ADAL" clId="{A742C20C-F491-48A5-A623-4756A7634A45}" dt="2024-08-02T13:36:33.543" v="555" actId="404"/>
          <ac:spMkLst>
            <pc:docMk/>
            <pc:sldMk cId="3585571724" sldId="389"/>
            <ac:spMk id="47" creationId="{616CDB1A-67D7-83FF-9141-C4E39226E0EB}"/>
          </ac:spMkLst>
        </pc:spChg>
        <pc:spChg chg="mod">
          <ac:chgData name="Barnes, Charlie" userId="36117f77-fae6-4fb3-806b-c6a759ac5abb" providerId="ADAL" clId="{A742C20C-F491-48A5-A623-4756A7634A45}" dt="2024-08-02T13:36:33.543" v="555" actId="404"/>
          <ac:spMkLst>
            <pc:docMk/>
            <pc:sldMk cId="3585571724" sldId="389"/>
            <ac:spMk id="48" creationId="{B577320E-F6F9-4E1F-9C41-E3B0B85D5323}"/>
          </ac:spMkLst>
        </pc:spChg>
        <pc:spChg chg="mod">
          <ac:chgData name="Barnes, Charlie" userId="36117f77-fae6-4fb3-806b-c6a759ac5abb" providerId="ADAL" clId="{A742C20C-F491-48A5-A623-4756A7634A45}" dt="2024-08-02T13:36:33.543" v="555" actId="404"/>
          <ac:spMkLst>
            <pc:docMk/>
            <pc:sldMk cId="3585571724" sldId="389"/>
            <ac:spMk id="49" creationId="{ADC78D18-0B13-AE5C-FC98-21BF451E2E61}"/>
          </ac:spMkLst>
        </pc:spChg>
        <pc:spChg chg="mod">
          <ac:chgData name="Barnes, Charlie" userId="36117f77-fae6-4fb3-806b-c6a759ac5abb" providerId="ADAL" clId="{A742C20C-F491-48A5-A623-4756A7634A45}" dt="2024-08-02T13:36:33.543" v="555" actId="404"/>
          <ac:spMkLst>
            <pc:docMk/>
            <pc:sldMk cId="3585571724" sldId="389"/>
            <ac:spMk id="50" creationId="{21647B2E-7714-4494-29AA-90E4CDA4207A}"/>
          </ac:spMkLst>
        </pc:spChg>
        <pc:spChg chg="mod">
          <ac:chgData name="Barnes, Charlie" userId="36117f77-fae6-4fb3-806b-c6a759ac5abb" providerId="ADAL" clId="{A742C20C-F491-48A5-A623-4756A7634A45}" dt="2024-08-02T13:36:33.543" v="555" actId="404"/>
          <ac:spMkLst>
            <pc:docMk/>
            <pc:sldMk cId="3585571724" sldId="389"/>
            <ac:spMk id="51" creationId="{DFBB9B44-979D-36EA-56CE-F9EAC31DE32C}"/>
          </ac:spMkLst>
        </pc:spChg>
        <pc:spChg chg="mod">
          <ac:chgData name="Barnes, Charlie" userId="36117f77-fae6-4fb3-806b-c6a759ac5abb" providerId="ADAL" clId="{A742C20C-F491-48A5-A623-4756A7634A45}" dt="2024-08-02T13:36:33.543" v="555" actId="404"/>
          <ac:spMkLst>
            <pc:docMk/>
            <pc:sldMk cId="3585571724" sldId="389"/>
            <ac:spMk id="53" creationId="{DBDFD7A3-37E2-54A9-7AC3-19899D2DE211}"/>
          </ac:spMkLst>
        </pc:spChg>
        <pc:spChg chg="mod">
          <ac:chgData name="Barnes, Charlie" userId="36117f77-fae6-4fb3-806b-c6a759ac5abb" providerId="ADAL" clId="{A742C20C-F491-48A5-A623-4756A7634A45}" dt="2024-08-02T13:36:33.543" v="555" actId="404"/>
          <ac:spMkLst>
            <pc:docMk/>
            <pc:sldMk cId="3585571724" sldId="389"/>
            <ac:spMk id="55" creationId="{AC3BFCB9-C509-C23A-7CF2-0AAA8C8BC53B}"/>
          </ac:spMkLst>
        </pc:spChg>
        <pc:spChg chg="mod">
          <ac:chgData name="Barnes, Charlie" userId="36117f77-fae6-4fb3-806b-c6a759ac5abb" providerId="ADAL" clId="{A742C20C-F491-48A5-A623-4756A7634A45}" dt="2024-08-02T13:37:04.368" v="598" actId="20577"/>
          <ac:spMkLst>
            <pc:docMk/>
            <pc:sldMk cId="3585571724" sldId="389"/>
            <ac:spMk id="56" creationId="{367E6AFA-FB70-B411-DF1E-1B614C6F4835}"/>
          </ac:spMkLst>
        </pc:spChg>
        <pc:spChg chg="mod">
          <ac:chgData name="Barnes, Charlie" userId="36117f77-fae6-4fb3-806b-c6a759ac5abb" providerId="ADAL" clId="{A742C20C-F491-48A5-A623-4756A7634A45}" dt="2024-08-02T13:36:33.564" v="556" actId="27636"/>
          <ac:spMkLst>
            <pc:docMk/>
            <pc:sldMk cId="3585571724" sldId="389"/>
            <ac:spMk id="141" creationId="{5E31692E-B895-46C3-B111-3BF04EA87930}"/>
          </ac:spMkLst>
        </pc:spChg>
        <pc:spChg chg="mod">
          <ac:chgData name="Barnes, Charlie" userId="36117f77-fae6-4fb3-806b-c6a759ac5abb" providerId="ADAL" clId="{A742C20C-F491-48A5-A623-4756A7634A45}" dt="2024-08-02T13:36:33.564" v="556" actId="27636"/>
          <ac:spMkLst>
            <pc:docMk/>
            <pc:sldMk cId="3585571724" sldId="389"/>
            <ac:spMk id="142" creationId="{A0DA6425-6DC0-6D2B-59A5-F934DFD887F5}"/>
          </ac:spMkLst>
        </pc:spChg>
        <pc:grpChg chg="mod">
          <ac:chgData name="Barnes, Charlie" userId="36117f77-fae6-4fb3-806b-c6a759ac5abb" providerId="ADAL" clId="{A742C20C-F491-48A5-A623-4756A7634A45}" dt="2024-08-02T13:36:33.564" v="556" actId="27636"/>
          <ac:grpSpMkLst>
            <pc:docMk/>
            <pc:sldMk cId="3585571724" sldId="389"/>
            <ac:grpSpMk id="5" creationId="{3F392620-7C76-4FCE-1847-3566F1157B2E}"/>
          </ac:grpSpMkLst>
        </pc:grpChg>
        <pc:grpChg chg="mod">
          <ac:chgData name="Barnes, Charlie" userId="36117f77-fae6-4fb3-806b-c6a759ac5abb" providerId="ADAL" clId="{A742C20C-F491-48A5-A623-4756A7634A45}" dt="2024-08-02T13:36:33.564" v="556" actId="27636"/>
          <ac:grpSpMkLst>
            <pc:docMk/>
            <pc:sldMk cId="3585571724" sldId="389"/>
            <ac:grpSpMk id="35" creationId="{93D2B856-B0A2-7F58-72CF-DBC6DF4EEC00}"/>
          </ac:grpSpMkLst>
        </pc:grpChg>
        <pc:grpChg chg="mod">
          <ac:chgData name="Barnes, Charlie" userId="36117f77-fae6-4fb3-806b-c6a759ac5abb" providerId="ADAL" clId="{A742C20C-F491-48A5-A623-4756A7634A45}" dt="2024-08-02T13:36:33.564" v="556" actId="27636"/>
          <ac:grpSpMkLst>
            <pc:docMk/>
            <pc:sldMk cId="3585571724" sldId="389"/>
            <ac:grpSpMk id="39" creationId="{2D85DDC3-7168-8186-6240-5466F67EA0A3}"/>
          </ac:grpSpMkLst>
        </pc:grpChg>
        <pc:grpChg chg="mod">
          <ac:chgData name="Barnes, Charlie" userId="36117f77-fae6-4fb3-806b-c6a759ac5abb" providerId="ADAL" clId="{A742C20C-F491-48A5-A623-4756A7634A45}" dt="2024-08-02T13:36:33.564" v="556" actId="27636"/>
          <ac:grpSpMkLst>
            <pc:docMk/>
            <pc:sldMk cId="3585571724" sldId="389"/>
            <ac:grpSpMk id="143" creationId="{277D5CBC-E3C6-A4FE-AD9A-13CFFF2612BA}"/>
          </ac:grpSpMkLst>
        </pc:grpChg>
        <pc:grpChg chg="mod">
          <ac:chgData name="Barnes, Charlie" userId="36117f77-fae6-4fb3-806b-c6a759ac5abb" providerId="ADAL" clId="{A742C20C-F491-48A5-A623-4756A7634A45}" dt="2024-08-02T13:36:33.564" v="556" actId="27636"/>
          <ac:grpSpMkLst>
            <pc:docMk/>
            <pc:sldMk cId="3585571724" sldId="389"/>
            <ac:grpSpMk id="144" creationId="{005D394C-D4EE-02B2-921E-885D836162CB}"/>
          </ac:grpSpMkLst>
        </pc:grpChg>
        <pc:grpChg chg="mod">
          <ac:chgData name="Barnes, Charlie" userId="36117f77-fae6-4fb3-806b-c6a759ac5abb" providerId="ADAL" clId="{A742C20C-F491-48A5-A623-4756A7634A45}" dt="2024-08-02T13:36:33.564" v="556" actId="27636"/>
          <ac:grpSpMkLst>
            <pc:docMk/>
            <pc:sldMk cId="3585571724" sldId="389"/>
            <ac:grpSpMk id="145" creationId="{76A71BC1-4BF1-FA8A-34D5-4247AA0AE733}"/>
          </ac:grpSpMkLst>
        </pc:grpChg>
        <pc:picChg chg="mod">
          <ac:chgData name="Barnes, Charlie" userId="36117f77-fae6-4fb3-806b-c6a759ac5abb" providerId="ADAL" clId="{A742C20C-F491-48A5-A623-4756A7634A45}" dt="2024-08-02T13:36:33.564" v="556" actId="27636"/>
          <ac:picMkLst>
            <pc:docMk/>
            <pc:sldMk cId="3585571724" sldId="389"/>
            <ac:picMk id="7" creationId="{64A8DF5A-379E-B53A-284E-B6EF18EEED0F}"/>
          </ac:picMkLst>
        </pc:pic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37:07.283" v="599"/>
              <pc2:cmMkLst xmlns:pc2="http://schemas.microsoft.com/office/powerpoint/2019/9/main/command">
                <pc:docMk/>
                <pc:sldMk cId="3585571724" sldId="389"/>
                <pc2:cmMk id="{572D1191-1809-4D52-8DEB-B48296F20944}"/>
              </pc2:cmMkLst>
              <pc226:cmRplyChg chg="add">
                <pc226:chgData name="Barnes, Charlie" userId="36117f77-fae6-4fb3-806b-c6a759ac5abb" providerId="ADAL" clId="{A742C20C-F491-48A5-A623-4756A7634A45}" dt="2024-08-02T13:37:07.283" v="599"/>
                <pc2:cmRplyMkLst xmlns:pc2="http://schemas.microsoft.com/office/powerpoint/2019/9/main/command">
                  <pc:docMk/>
                  <pc:sldMk cId="3585571724" sldId="389"/>
                  <pc2:cmMk id="{572D1191-1809-4D52-8DEB-B48296F20944}"/>
                  <pc2:cmRplyMk id="{2B7E1BBC-DCD2-4DE2-9B8D-E2499F9F20FB}"/>
                </pc2:cmRplyMkLst>
              </pc226:cmRplyChg>
            </pc226:cmChg>
          </p:ext>
        </pc:extLst>
      </pc:sldChg>
      <pc:sldChg chg="modSp mod">
        <pc:chgData name="Barnes, Charlie" userId="36117f77-fae6-4fb3-806b-c6a759ac5abb" providerId="ADAL" clId="{A742C20C-F491-48A5-A623-4756A7634A45}" dt="2024-08-02T13:47:26.078" v="877" actId="404"/>
        <pc:sldMkLst>
          <pc:docMk/>
          <pc:sldMk cId="3396005633" sldId="390"/>
        </pc:sldMkLst>
        <pc:graphicFrameChg chg="modGraphic">
          <ac:chgData name="Barnes, Charlie" userId="36117f77-fae6-4fb3-806b-c6a759ac5abb" providerId="ADAL" clId="{A742C20C-F491-48A5-A623-4756A7634A45}" dt="2024-08-02T13:47:26.078" v="877" actId="404"/>
          <ac:graphicFrameMkLst>
            <pc:docMk/>
            <pc:sldMk cId="3396005633" sldId="390"/>
            <ac:graphicFrameMk id="4" creationId="{B0D14B92-34B9-5AEB-17BC-8011AE102F13}"/>
          </ac:graphicFrameMkLst>
        </pc:graphicFrameChg>
      </pc:sldChg>
      <pc:sldChg chg="modSp mod">
        <pc:chgData name="Barnes, Charlie" userId="36117f77-fae6-4fb3-806b-c6a759ac5abb" providerId="ADAL" clId="{A742C20C-F491-48A5-A623-4756A7634A45}" dt="2024-08-02T13:20:04.090" v="67" actId="255"/>
        <pc:sldMkLst>
          <pc:docMk/>
          <pc:sldMk cId="787188721" sldId="400"/>
        </pc:sldMkLst>
        <pc:spChg chg="mod">
          <ac:chgData name="Barnes, Charlie" userId="36117f77-fae6-4fb3-806b-c6a759ac5abb" providerId="ADAL" clId="{A742C20C-F491-48A5-A623-4756A7634A45}" dt="2024-08-02T13:19:38.041" v="63" actId="2711"/>
          <ac:spMkLst>
            <pc:docMk/>
            <pc:sldMk cId="787188721" sldId="400"/>
            <ac:spMk id="2" creationId="{B7913185-181C-9DA6-AF8E-643E0339C626}"/>
          </ac:spMkLst>
        </pc:spChg>
        <pc:spChg chg="mod">
          <ac:chgData name="Barnes, Charlie" userId="36117f77-fae6-4fb3-806b-c6a759ac5abb" providerId="ADAL" clId="{A742C20C-F491-48A5-A623-4756A7634A45}" dt="2024-08-02T13:20:04.090" v="67" actId="255"/>
          <ac:spMkLst>
            <pc:docMk/>
            <pc:sldMk cId="787188721" sldId="400"/>
            <ac:spMk id="7" creationId="{C698E040-DA9F-B8D2-9D10-8B37DD26306E}"/>
          </ac:spMkLst>
        </pc:spChg>
        <pc:spChg chg="mod">
          <ac:chgData name="Barnes, Charlie" userId="36117f77-fae6-4fb3-806b-c6a759ac5abb" providerId="ADAL" clId="{A742C20C-F491-48A5-A623-4756A7634A45}" dt="2024-08-02T13:20:00.107" v="66" actId="255"/>
          <ac:spMkLst>
            <pc:docMk/>
            <pc:sldMk cId="787188721" sldId="400"/>
            <ac:spMk id="8" creationId="{E465E7BA-F576-8D6B-1A3A-7CBFC0634AA8}"/>
          </ac:spMkLst>
        </pc:spChg>
        <pc:spChg chg="mod">
          <ac:chgData name="Barnes, Charlie" userId="36117f77-fae6-4fb3-806b-c6a759ac5abb" providerId="ADAL" clId="{A742C20C-F491-48A5-A623-4756A7634A45}" dt="2024-08-02T13:19:38.041" v="63" actId="2711"/>
          <ac:spMkLst>
            <pc:docMk/>
            <pc:sldMk cId="787188721" sldId="400"/>
            <ac:spMk id="9" creationId="{3285BEE7-F7E2-F31E-1C9E-FCBE367A0241}"/>
          </ac:spMkLst>
        </pc:spChg>
      </pc:sldChg>
      <pc:sldChg chg="modSp mod modCm">
        <pc:chgData name="Barnes, Charlie" userId="36117f77-fae6-4fb3-806b-c6a759ac5abb" providerId="ADAL" clId="{A742C20C-F491-48A5-A623-4756A7634A45}" dt="2024-08-02T13:48:48.041" v="891" actId="403"/>
        <pc:sldMkLst>
          <pc:docMk/>
          <pc:sldMk cId="3102081972" sldId="402"/>
        </pc:sldMkLst>
        <pc:spChg chg="mod">
          <ac:chgData name="Barnes, Charlie" userId="36117f77-fae6-4fb3-806b-c6a759ac5abb" providerId="ADAL" clId="{A742C20C-F491-48A5-A623-4756A7634A45}" dt="2024-08-02T13:48:48.041" v="891" actId="403"/>
          <ac:spMkLst>
            <pc:docMk/>
            <pc:sldMk cId="3102081972" sldId="402"/>
            <ac:spMk id="4" creationId="{D0B57AD8-68CB-7D1C-84D6-59BE37F7179C}"/>
          </ac:spMkLst>
        </pc:spChg>
        <pc:spChg chg="mod">
          <ac:chgData name="Barnes, Charlie" userId="36117f77-fae6-4fb3-806b-c6a759ac5abb" providerId="ADAL" clId="{A742C20C-F491-48A5-A623-4756A7634A45}" dt="2024-08-02T13:48:45.905" v="890" actId="403"/>
          <ac:spMkLst>
            <pc:docMk/>
            <pc:sldMk cId="3102081972" sldId="402"/>
            <ac:spMk id="5" creationId="{DC74663F-F951-BEEF-3B84-F0A1644C6536}"/>
          </ac:spMkLst>
        </pc:spChg>
        <pc:extLst>
          <p:ext xmlns:p="http://schemas.openxmlformats.org/presentationml/2006/main" uri="{D6D511B9-2390-475A-947B-AFAB55BFBCF1}">
            <pc226:cmChg xmlns:pc226="http://schemas.microsoft.com/office/powerpoint/2022/06/main/command" chg="">
              <pc226:chgData name="Barnes, Charlie" userId="36117f77-fae6-4fb3-806b-c6a759ac5abb" providerId="ADAL" clId="{A742C20C-F491-48A5-A623-4756A7634A45}" dt="2024-08-02T13:48:36.589" v="888"/>
              <pc2:cmMkLst xmlns:pc2="http://schemas.microsoft.com/office/powerpoint/2019/9/main/command">
                <pc:docMk/>
                <pc:sldMk cId="3102081972" sldId="402"/>
                <pc2:cmMk id="{73EE2122-8ACE-4DA5-A525-78C25D739C6C}"/>
              </pc2:cmMkLst>
              <pc226:cmRplyChg chg="add">
                <pc226:chgData name="Barnes, Charlie" userId="36117f77-fae6-4fb3-806b-c6a759ac5abb" providerId="ADAL" clId="{A742C20C-F491-48A5-A623-4756A7634A45}" dt="2024-08-02T13:48:36.589" v="888"/>
                <pc2:cmRplyMkLst xmlns:pc2="http://schemas.microsoft.com/office/powerpoint/2019/9/main/command">
                  <pc:docMk/>
                  <pc:sldMk cId="3102081972" sldId="402"/>
                  <pc2:cmMk id="{73EE2122-8ACE-4DA5-A525-78C25D739C6C}"/>
                  <pc2:cmRplyMk id="{A7DA1AA8-C855-429D-9814-F74F2E6359D5}"/>
                </pc2:cmRplyMkLst>
              </pc226:cmRplyChg>
            </pc226:cmChg>
          </p:ext>
        </pc:extLst>
      </pc:sldChg>
      <pc:sldChg chg="modSp mod">
        <pc:chgData name="Barnes, Charlie" userId="36117f77-fae6-4fb3-806b-c6a759ac5abb" providerId="ADAL" clId="{A742C20C-F491-48A5-A623-4756A7634A45}" dt="2024-08-02T13:40:14.361" v="825" actId="20577"/>
        <pc:sldMkLst>
          <pc:docMk/>
          <pc:sldMk cId="364480556" sldId="405"/>
        </pc:sldMkLst>
        <pc:spChg chg="mod">
          <ac:chgData name="Barnes, Charlie" userId="36117f77-fae6-4fb3-806b-c6a759ac5abb" providerId="ADAL" clId="{A742C20C-F491-48A5-A623-4756A7634A45}" dt="2024-08-02T13:38:51.993" v="702" actId="2711"/>
          <ac:spMkLst>
            <pc:docMk/>
            <pc:sldMk cId="364480556" sldId="405"/>
            <ac:spMk id="2" creationId="{81FF28D4-F7C5-5F83-4709-A11774C20E1C}"/>
          </ac:spMkLst>
        </pc:spChg>
        <pc:spChg chg="mod">
          <ac:chgData name="Barnes, Charlie" userId="36117f77-fae6-4fb3-806b-c6a759ac5abb" providerId="ADAL" clId="{A742C20C-F491-48A5-A623-4756A7634A45}" dt="2024-08-02T13:38:51.993" v="702" actId="2711"/>
          <ac:spMkLst>
            <pc:docMk/>
            <pc:sldMk cId="364480556" sldId="405"/>
            <ac:spMk id="4" creationId="{87BB855A-96B5-A016-D513-893E7EDED6D1}"/>
          </ac:spMkLst>
        </pc:spChg>
        <pc:spChg chg="mod">
          <ac:chgData name="Barnes, Charlie" userId="36117f77-fae6-4fb3-806b-c6a759ac5abb" providerId="ADAL" clId="{A742C20C-F491-48A5-A623-4756A7634A45}" dt="2024-08-02T13:40:14.361" v="825" actId="20577"/>
          <ac:spMkLst>
            <pc:docMk/>
            <pc:sldMk cId="364480556" sldId="405"/>
            <ac:spMk id="7" creationId="{1C7C4275-A96B-6539-DF2E-0065AAED34C8}"/>
          </ac:spMkLst>
        </pc:spChg>
        <pc:spChg chg="mod">
          <ac:chgData name="Barnes, Charlie" userId="36117f77-fae6-4fb3-806b-c6a759ac5abb" providerId="ADAL" clId="{A742C20C-F491-48A5-A623-4756A7634A45}" dt="2024-08-02T13:38:51.993" v="702" actId="2711"/>
          <ac:spMkLst>
            <pc:docMk/>
            <pc:sldMk cId="364480556" sldId="405"/>
            <ac:spMk id="11" creationId="{714CE7BB-5D3D-72B3-BF78-15D3EAA747A9}"/>
          </ac:spMkLst>
        </pc:spChg>
        <pc:spChg chg="mod">
          <ac:chgData name="Barnes, Charlie" userId="36117f77-fae6-4fb3-806b-c6a759ac5abb" providerId="ADAL" clId="{A742C20C-F491-48A5-A623-4756A7634A45}" dt="2024-08-02T13:38:51.993" v="702" actId="2711"/>
          <ac:spMkLst>
            <pc:docMk/>
            <pc:sldMk cId="364480556" sldId="405"/>
            <ac:spMk id="13" creationId="{696A405B-727F-4165-E395-B1304825BD2A}"/>
          </ac:spMkLst>
        </pc:spChg>
        <pc:spChg chg="mod">
          <ac:chgData name="Barnes, Charlie" userId="36117f77-fae6-4fb3-806b-c6a759ac5abb" providerId="ADAL" clId="{A742C20C-F491-48A5-A623-4756A7634A45}" dt="2024-08-02T13:38:51.993" v="702" actId="2711"/>
          <ac:spMkLst>
            <pc:docMk/>
            <pc:sldMk cId="364480556" sldId="405"/>
            <ac:spMk id="20" creationId="{658A11E8-2D48-BAA8-EEF3-646FF8845330}"/>
          </ac:spMkLst>
        </pc:spChg>
        <pc:spChg chg="mod">
          <ac:chgData name="Barnes, Charlie" userId="36117f77-fae6-4fb3-806b-c6a759ac5abb" providerId="ADAL" clId="{A742C20C-F491-48A5-A623-4756A7634A45}" dt="2024-08-02T13:38:51.993" v="702" actId="2711"/>
          <ac:spMkLst>
            <pc:docMk/>
            <pc:sldMk cId="364480556" sldId="405"/>
            <ac:spMk id="21" creationId="{B1395272-7846-4A4C-499A-1FAF9BB054B4}"/>
          </ac:spMkLst>
        </pc:spChg>
      </pc:sldChg>
      <pc:sldChg chg="modSp mod">
        <pc:chgData name="Barnes, Charlie" userId="36117f77-fae6-4fb3-806b-c6a759ac5abb" providerId="ADAL" clId="{A742C20C-F491-48A5-A623-4756A7634A45}" dt="2024-08-02T13:47:30.986" v="878" actId="2711"/>
        <pc:sldMkLst>
          <pc:docMk/>
          <pc:sldMk cId="3905299882" sldId="407"/>
        </pc:sldMkLst>
        <pc:spChg chg="mod">
          <ac:chgData name="Barnes, Charlie" userId="36117f77-fae6-4fb3-806b-c6a759ac5abb" providerId="ADAL" clId="{A742C20C-F491-48A5-A623-4756A7634A45}" dt="2024-08-02T13:47:30.986" v="878" actId="2711"/>
          <ac:spMkLst>
            <pc:docMk/>
            <pc:sldMk cId="3905299882" sldId="407"/>
            <ac:spMk id="2" creationId="{89BDDDA9-BABA-D61E-7FF9-9EF002675A08}"/>
          </ac:spMkLst>
        </pc:spChg>
        <pc:spChg chg="mod">
          <ac:chgData name="Barnes, Charlie" userId="36117f77-fae6-4fb3-806b-c6a759ac5abb" providerId="ADAL" clId="{A742C20C-F491-48A5-A623-4756A7634A45}" dt="2024-08-02T13:47:30.986" v="878" actId="2711"/>
          <ac:spMkLst>
            <pc:docMk/>
            <pc:sldMk cId="3905299882" sldId="407"/>
            <ac:spMk id="3" creationId="{15B1CF08-B425-5601-01E9-69C5C463C2DE}"/>
          </ac:spMkLst>
        </pc:spChg>
      </pc:sldChg>
      <pc:sldChg chg="modSp mod">
        <pc:chgData name="Barnes, Charlie" userId="36117f77-fae6-4fb3-806b-c6a759ac5abb" providerId="ADAL" clId="{A742C20C-F491-48A5-A623-4756A7634A45}" dt="2024-08-02T13:47:40.011" v="881" actId="404"/>
        <pc:sldMkLst>
          <pc:docMk/>
          <pc:sldMk cId="467511565" sldId="408"/>
        </pc:sldMkLst>
        <pc:graphicFrameChg chg="modGraphic">
          <ac:chgData name="Barnes, Charlie" userId="36117f77-fae6-4fb3-806b-c6a759ac5abb" providerId="ADAL" clId="{A742C20C-F491-48A5-A623-4756A7634A45}" dt="2024-08-02T13:47:40.011" v="881" actId="404"/>
          <ac:graphicFrameMkLst>
            <pc:docMk/>
            <pc:sldMk cId="467511565" sldId="408"/>
            <ac:graphicFrameMk id="4" creationId="{27813134-411C-B8D3-949E-3BBA1D2431E3}"/>
          </ac:graphicFrameMkLst>
        </pc:graphicFrameChg>
      </pc:sldChg>
      <pc:sldChg chg="modSp mod">
        <pc:chgData name="Barnes, Charlie" userId="36117f77-fae6-4fb3-806b-c6a759ac5abb" providerId="ADAL" clId="{A742C20C-F491-48A5-A623-4756A7634A45}" dt="2024-08-02T13:47:45.354" v="883" actId="404"/>
        <pc:sldMkLst>
          <pc:docMk/>
          <pc:sldMk cId="2831850168" sldId="409"/>
        </pc:sldMkLst>
        <pc:graphicFrameChg chg="modGraphic">
          <ac:chgData name="Barnes, Charlie" userId="36117f77-fae6-4fb3-806b-c6a759ac5abb" providerId="ADAL" clId="{A742C20C-F491-48A5-A623-4756A7634A45}" dt="2024-08-02T13:47:45.354" v="883" actId="404"/>
          <ac:graphicFrameMkLst>
            <pc:docMk/>
            <pc:sldMk cId="2831850168" sldId="409"/>
            <ac:graphicFrameMk id="4" creationId="{9099E53B-D93B-FF37-8BAD-D8DAD4097D67}"/>
          </ac:graphicFrameMkLst>
        </pc:graphicFrameChg>
      </pc:sldChg>
      <pc:sldChg chg="modSp modCm">
        <pc:chgData name="Barnes, Charlie" userId="36117f77-fae6-4fb3-806b-c6a759ac5abb" providerId="ADAL" clId="{A742C20C-F491-48A5-A623-4756A7634A45}" dt="2024-08-02T13:26:37.528" v="366" actId="2711"/>
        <pc:sldMkLst>
          <pc:docMk/>
          <pc:sldMk cId="1640909582" sldId="410"/>
        </pc:sldMkLst>
        <pc:spChg chg="mod">
          <ac:chgData name="Barnes, Charlie" userId="36117f77-fae6-4fb3-806b-c6a759ac5abb" providerId="ADAL" clId="{A742C20C-F491-48A5-A623-4756A7634A45}" dt="2024-08-02T13:26:37.528" v="366" actId="2711"/>
          <ac:spMkLst>
            <pc:docMk/>
            <pc:sldMk cId="1640909582" sldId="410"/>
            <ac:spMk id="2" creationId="{81FF28D4-F7C5-5F83-4709-A11774C20E1C}"/>
          </ac:spMkLst>
        </pc:spChg>
        <pc:spChg chg="mod">
          <ac:chgData name="Barnes, Charlie" userId="36117f77-fae6-4fb3-806b-c6a759ac5abb" providerId="ADAL" clId="{A742C20C-F491-48A5-A623-4756A7634A45}" dt="2024-08-02T13:26:37.528" v="366" actId="2711"/>
          <ac:spMkLst>
            <pc:docMk/>
            <pc:sldMk cId="1640909582" sldId="410"/>
            <ac:spMk id="6" creationId="{24337670-2EAC-4D42-0A7D-6316F25CDBB9}"/>
          </ac:spMkLst>
        </pc:spChg>
        <pc:graphicFrameChg chg="mod">
          <ac:chgData name="Barnes, Charlie" userId="36117f77-fae6-4fb3-806b-c6a759ac5abb" providerId="ADAL" clId="{A742C20C-F491-48A5-A623-4756A7634A45}" dt="2024-08-02T13:26:37.528" v="366" actId="2711"/>
          <ac:graphicFrameMkLst>
            <pc:docMk/>
            <pc:sldMk cId="1640909582" sldId="410"/>
            <ac:graphicFrameMk id="5" creationId="{E7B7AC88-F7D0-607A-4FDE-FBF24F4EB460}"/>
          </ac:graphicFrameMkLst>
        </pc:graphicFrameChg>
        <pc:picChg chg="mod">
          <ac:chgData name="Barnes, Charlie" userId="36117f77-fae6-4fb3-806b-c6a759ac5abb" providerId="ADAL" clId="{A742C20C-F491-48A5-A623-4756A7634A45}" dt="2024-08-02T13:26:37.528" v="366" actId="2711"/>
          <ac:picMkLst>
            <pc:docMk/>
            <pc:sldMk cId="1640909582" sldId="410"/>
            <ac:picMk id="3" creationId="{944B29CE-F6CB-96EB-9F50-AC635C66F0C2}"/>
          </ac:picMkLst>
        </pc:picChg>
        <pc:extLst>
          <p:ext xmlns:p="http://schemas.openxmlformats.org/presentationml/2006/main" uri="{D6D511B9-2390-475A-947B-AFAB55BFBCF1}">
            <pc226:cmChg xmlns:pc226="http://schemas.microsoft.com/office/powerpoint/2022/06/main/command" chg="">
              <pc226:chgData name="Barnes, Charlie" userId="36117f77-fae6-4fb3-806b-c6a759ac5abb" providerId="ADAL" clId="{A742C20C-F491-48A5-A623-4756A7634A45}" dt="2024-08-02T13:26:26.198" v="364"/>
              <pc2:cmMkLst xmlns:pc2="http://schemas.microsoft.com/office/powerpoint/2019/9/main/command">
                <pc:docMk/>
                <pc:sldMk cId="1640909582" sldId="410"/>
                <pc2:cmMk id="{5EBC0654-795C-44FD-9565-B137598091DB}"/>
              </pc2:cmMkLst>
              <pc226:cmRplyChg chg="add">
                <pc226:chgData name="Barnes, Charlie" userId="36117f77-fae6-4fb3-806b-c6a759ac5abb" providerId="ADAL" clId="{A742C20C-F491-48A5-A623-4756A7634A45}" dt="2024-08-02T13:26:26.198" v="364"/>
                <pc2:cmRplyMkLst xmlns:pc2="http://schemas.microsoft.com/office/powerpoint/2019/9/main/command">
                  <pc:docMk/>
                  <pc:sldMk cId="1640909582" sldId="410"/>
                  <pc2:cmMk id="{5EBC0654-795C-44FD-9565-B137598091DB}"/>
                  <pc2:cmRplyMk id="{B8792379-8CB5-4DBC-9BA2-9DD4F1E73515}"/>
                </pc2:cmRplyMkLst>
              </pc226:cmRplyChg>
            </pc226:cmChg>
          </p:ext>
        </pc:extLst>
      </pc:sldChg>
      <pc:sldChg chg="modSp mod">
        <pc:chgData name="Barnes, Charlie" userId="36117f77-fae6-4fb3-806b-c6a759ac5abb" providerId="ADAL" clId="{A742C20C-F491-48A5-A623-4756A7634A45}" dt="2024-08-02T13:26:55.103" v="369" actId="1076"/>
        <pc:sldMkLst>
          <pc:docMk/>
          <pc:sldMk cId="3535001361" sldId="411"/>
        </pc:sldMkLst>
        <pc:graphicFrameChg chg="mod modGraphic">
          <ac:chgData name="Barnes, Charlie" userId="36117f77-fae6-4fb3-806b-c6a759ac5abb" providerId="ADAL" clId="{A742C20C-F491-48A5-A623-4756A7634A45}" dt="2024-08-02T13:26:55.103" v="369" actId="1076"/>
          <ac:graphicFrameMkLst>
            <pc:docMk/>
            <pc:sldMk cId="3535001361" sldId="411"/>
            <ac:graphicFrameMk id="4" creationId="{3221F1E4-D63C-81CE-BBCC-CF9D9933C255}"/>
          </ac:graphicFrameMkLst>
        </pc:graphicFrameChg>
      </pc:sldChg>
      <pc:sldChg chg="modSp mod modCm">
        <pc:chgData name="Barnes, Charlie" userId="36117f77-fae6-4fb3-806b-c6a759ac5abb" providerId="ADAL" clId="{A742C20C-F491-48A5-A623-4756A7634A45}" dt="2024-08-02T13:27:33.121" v="381" actId="403"/>
        <pc:sldMkLst>
          <pc:docMk/>
          <pc:sldMk cId="3187563543" sldId="412"/>
        </pc:sldMkLst>
        <pc:spChg chg="mod">
          <ac:chgData name="Barnes, Charlie" userId="36117f77-fae6-4fb3-806b-c6a759ac5abb" providerId="ADAL" clId="{A742C20C-F491-48A5-A623-4756A7634A45}" dt="2024-08-02T13:27:00.211" v="370" actId="2711"/>
          <ac:spMkLst>
            <pc:docMk/>
            <pc:sldMk cId="3187563543" sldId="412"/>
            <ac:spMk id="2" creationId="{81FF28D4-F7C5-5F83-4709-A11774C20E1C}"/>
          </ac:spMkLst>
        </pc:spChg>
        <pc:spChg chg="mod">
          <ac:chgData name="Barnes, Charlie" userId="36117f77-fae6-4fb3-806b-c6a759ac5abb" providerId="ADAL" clId="{A742C20C-F491-48A5-A623-4756A7634A45}" dt="2024-08-02T13:27:00.211" v="370" actId="2711"/>
          <ac:spMkLst>
            <pc:docMk/>
            <pc:sldMk cId="3187563543" sldId="412"/>
            <ac:spMk id="3" creationId="{061611FF-34D8-F9FA-4B26-304FE34FA565}"/>
          </ac:spMkLst>
        </pc:spChg>
        <pc:spChg chg="mod">
          <ac:chgData name="Barnes, Charlie" userId="36117f77-fae6-4fb3-806b-c6a759ac5abb" providerId="ADAL" clId="{A742C20C-F491-48A5-A623-4756A7634A45}" dt="2024-08-02T13:27:33.121" v="381" actId="403"/>
          <ac:spMkLst>
            <pc:docMk/>
            <pc:sldMk cId="3187563543" sldId="412"/>
            <ac:spMk id="10" creationId="{C32783E2-32B4-FDEA-82AE-14EB8EBC7C6D}"/>
          </ac:spMkLst>
        </pc:spChg>
        <pc:extLst>
          <p:ext xmlns:p="http://schemas.openxmlformats.org/presentationml/2006/main" uri="{D6D511B9-2390-475A-947B-AFAB55BFBCF1}">
            <pc226:cmChg xmlns:pc226="http://schemas.microsoft.com/office/powerpoint/2022/06/main/command" chg="">
              <pc226:chgData name="Barnes, Charlie" userId="36117f77-fae6-4fb3-806b-c6a759ac5abb" providerId="ADAL" clId="{A742C20C-F491-48A5-A623-4756A7634A45}" dt="2024-08-02T13:27:21.144" v="378"/>
              <pc2:cmMkLst xmlns:pc2="http://schemas.microsoft.com/office/powerpoint/2019/9/main/command">
                <pc:docMk/>
                <pc:sldMk cId="3187563543" sldId="412"/>
                <pc2:cmMk id="{79ACD81E-616F-4DCB-B73A-D7DD8E2FCEBE}"/>
              </pc2:cmMkLst>
              <pc226:cmRplyChg chg="add">
                <pc226:chgData name="Barnes, Charlie" userId="36117f77-fae6-4fb3-806b-c6a759ac5abb" providerId="ADAL" clId="{A742C20C-F491-48A5-A623-4756A7634A45}" dt="2024-08-02T13:27:21.144" v="378"/>
                <pc2:cmRplyMkLst xmlns:pc2="http://schemas.microsoft.com/office/powerpoint/2019/9/main/command">
                  <pc:docMk/>
                  <pc:sldMk cId="3187563543" sldId="412"/>
                  <pc2:cmMk id="{79ACD81E-616F-4DCB-B73A-D7DD8E2FCEBE}"/>
                  <pc2:cmRplyMk id="{206249F3-5770-4A4C-BB77-2C5FCF682328}"/>
                </pc2:cmRplyMkLst>
              </pc226:cmRplyChg>
            </pc226:cmChg>
            <pc226:cmChg xmlns:pc226="http://schemas.microsoft.com/office/powerpoint/2022/06/main/command" chg="">
              <pc226:chgData name="Barnes, Charlie" userId="36117f77-fae6-4fb3-806b-c6a759ac5abb" providerId="ADAL" clId="{A742C20C-F491-48A5-A623-4756A7634A45}" dt="2024-08-02T13:27:24.744" v="379"/>
              <pc2:cmMkLst xmlns:pc2="http://schemas.microsoft.com/office/powerpoint/2019/9/main/command">
                <pc:docMk/>
                <pc:sldMk cId="3187563543" sldId="412"/>
                <pc2:cmMk id="{93CA0B69-B74E-4339-A031-F50B05C8DE2B}"/>
              </pc2:cmMkLst>
              <pc226:cmRplyChg chg="add">
                <pc226:chgData name="Barnes, Charlie" userId="36117f77-fae6-4fb3-806b-c6a759ac5abb" providerId="ADAL" clId="{A742C20C-F491-48A5-A623-4756A7634A45}" dt="2024-08-02T13:27:24.744" v="379"/>
                <pc2:cmRplyMkLst xmlns:pc2="http://schemas.microsoft.com/office/powerpoint/2019/9/main/command">
                  <pc:docMk/>
                  <pc:sldMk cId="3187563543" sldId="412"/>
                  <pc2:cmMk id="{93CA0B69-B74E-4339-A031-F50B05C8DE2B}"/>
                  <pc2:cmRplyMk id="{1F3BCB86-CBC6-4058-8259-3BCE83008C34}"/>
                </pc2:cmRplyMkLst>
              </pc226:cmRplyChg>
            </pc226:cmChg>
          </p:ext>
        </pc:extLst>
      </pc:sldChg>
      <pc:sldChg chg="delSp modSp mod modCm">
        <pc:chgData name="Barnes, Charlie" userId="36117f77-fae6-4fb3-806b-c6a759ac5abb" providerId="ADAL" clId="{A742C20C-F491-48A5-A623-4756A7634A45}" dt="2024-08-02T13:46:22.273" v="858"/>
        <pc:sldMkLst>
          <pc:docMk/>
          <pc:sldMk cId="2372442375" sldId="1948"/>
        </pc:sldMkLst>
        <pc:spChg chg="mod">
          <ac:chgData name="Barnes, Charlie" userId="36117f77-fae6-4fb3-806b-c6a759ac5abb" providerId="ADAL" clId="{A742C20C-F491-48A5-A623-4756A7634A45}" dt="2024-08-02T13:40:28.452" v="839" actId="2711"/>
          <ac:spMkLst>
            <pc:docMk/>
            <pc:sldMk cId="2372442375" sldId="1948"/>
            <ac:spMk id="2" creationId="{15BA33F6-2854-7742-7DE6-487A8618117E}"/>
          </ac:spMkLst>
        </pc:spChg>
        <pc:spChg chg="mod">
          <ac:chgData name="Barnes, Charlie" userId="36117f77-fae6-4fb3-806b-c6a759ac5abb" providerId="ADAL" clId="{A742C20C-F491-48A5-A623-4756A7634A45}" dt="2024-08-02T13:40:28.452" v="839" actId="2711"/>
          <ac:spMkLst>
            <pc:docMk/>
            <pc:sldMk cId="2372442375" sldId="1948"/>
            <ac:spMk id="3" creationId="{B75A1ECB-D1C9-D3EF-0F8C-6DD0CA283A7D}"/>
          </ac:spMkLst>
        </pc:spChg>
        <pc:spChg chg="mod">
          <ac:chgData name="Barnes, Charlie" userId="36117f77-fae6-4fb3-806b-c6a759ac5abb" providerId="ADAL" clId="{A742C20C-F491-48A5-A623-4756A7634A45}" dt="2024-08-02T13:46:14.418" v="854" actId="207"/>
          <ac:spMkLst>
            <pc:docMk/>
            <pc:sldMk cId="2372442375" sldId="1948"/>
            <ac:spMk id="5" creationId="{F5511C7A-17DF-6FE0-4A2C-369351CB442E}"/>
          </ac:spMkLst>
        </pc:spChg>
        <pc:spChg chg="mod">
          <ac:chgData name="Barnes, Charlie" userId="36117f77-fae6-4fb3-806b-c6a759ac5abb" providerId="ADAL" clId="{A742C20C-F491-48A5-A623-4756A7634A45}" dt="2024-08-02T13:45:57.512" v="853" actId="207"/>
          <ac:spMkLst>
            <pc:docMk/>
            <pc:sldMk cId="2372442375" sldId="1948"/>
            <ac:spMk id="6" creationId="{8E06FFD6-5234-6C4D-9E9D-B3F67F124612}"/>
          </ac:spMkLst>
        </pc:spChg>
        <pc:spChg chg="mod">
          <ac:chgData name="Barnes, Charlie" userId="36117f77-fae6-4fb3-806b-c6a759ac5abb" providerId="ADAL" clId="{A742C20C-F491-48A5-A623-4756A7634A45}" dt="2024-08-02T13:40:28.452" v="839" actId="2711"/>
          <ac:spMkLst>
            <pc:docMk/>
            <pc:sldMk cId="2372442375" sldId="1948"/>
            <ac:spMk id="7" creationId="{88B97CFA-505B-8A20-353D-5AE5D934EBAD}"/>
          </ac:spMkLst>
        </pc:spChg>
        <pc:spChg chg="mod">
          <ac:chgData name="Barnes, Charlie" userId="36117f77-fae6-4fb3-806b-c6a759ac5abb" providerId="ADAL" clId="{A742C20C-F491-48A5-A623-4756A7634A45}" dt="2024-08-02T13:40:28.452" v="839" actId="2711"/>
          <ac:spMkLst>
            <pc:docMk/>
            <pc:sldMk cId="2372442375" sldId="1948"/>
            <ac:spMk id="8" creationId="{9DE7EDB0-9FD8-1053-5811-2F7F781519B8}"/>
          </ac:spMkLst>
        </pc:spChg>
        <pc:spChg chg="mod">
          <ac:chgData name="Barnes, Charlie" userId="36117f77-fae6-4fb3-806b-c6a759ac5abb" providerId="ADAL" clId="{A742C20C-F491-48A5-A623-4756A7634A45}" dt="2024-08-02T13:40:28.452" v="839" actId="2711"/>
          <ac:spMkLst>
            <pc:docMk/>
            <pc:sldMk cId="2372442375" sldId="1948"/>
            <ac:spMk id="9" creationId="{D80CD928-F77D-C9AE-E6E2-D110C191E6B1}"/>
          </ac:spMkLst>
        </pc:spChg>
        <pc:spChg chg="mod">
          <ac:chgData name="Barnes, Charlie" userId="36117f77-fae6-4fb3-806b-c6a759ac5abb" providerId="ADAL" clId="{A742C20C-F491-48A5-A623-4756A7634A45}" dt="2024-08-02T13:40:28.452" v="839" actId="2711"/>
          <ac:spMkLst>
            <pc:docMk/>
            <pc:sldMk cId="2372442375" sldId="1948"/>
            <ac:spMk id="10" creationId="{C9907E61-DFB8-28E7-783E-EEC7071DF70C}"/>
          </ac:spMkLst>
        </pc:spChg>
        <pc:spChg chg="mod">
          <ac:chgData name="Barnes, Charlie" userId="36117f77-fae6-4fb3-806b-c6a759ac5abb" providerId="ADAL" clId="{A742C20C-F491-48A5-A623-4756A7634A45}" dt="2024-08-02T13:40:28.452" v="839" actId="2711"/>
          <ac:spMkLst>
            <pc:docMk/>
            <pc:sldMk cId="2372442375" sldId="1948"/>
            <ac:spMk id="12" creationId="{71857B8A-1736-1140-88F8-A4B2049AF626}"/>
          </ac:spMkLst>
        </pc:spChg>
        <pc:spChg chg="mod">
          <ac:chgData name="Barnes, Charlie" userId="36117f77-fae6-4fb3-806b-c6a759ac5abb" providerId="ADAL" clId="{A742C20C-F491-48A5-A623-4756A7634A45}" dt="2024-08-02T13:40:28.452" v="839" actId="2711"/>
          <ac:spMkLst>
            <pc:docMk/>
            <pc:sldMk cId="2372442375" sldId="1948"/>
            <ac:spMk id="14" creationId="{535D53F1-877A-52F7-5DBB-992D5B298B40}"/>
          </ac:spMkLst>
        </pc:spChg>
        <pc:spChg chg="mod">
          <ac:chgData name="Barnes, Charlie" userId="36117f77-fae6-4fb3-806b-c6a759ac5abb" providerId="ADAL" clId="{A742C20C-F491-48A5-A623-4756A7634A45}" dt="2024-08-02T13:40:28.452" v="839" actId="2711"/>
          <ac:spMkLst>
            <pc:docMk/>
            <pc:sldMk cId="2372442375" sldId="1948"/>
            <ac:spMk id="39" creationId="{B665B009-E993-0371-E25F-7961C5579C5B}"/>
          </ac:spMkLst>
        </pc:spChg>
        <pc:spChg chg="mod">
          <ac:chgData name="Barnes, Charlie" userId="36117f77-fae6-4fb3-806b-c6a759ac5abb" providerId="ADAL" clId="{A742C20C-F491-48A5-A623-4756A7634A45}" dt="2024-08-02T13:40:28.452" v="839" actId="2711"/>
          <ac:spMkLst>
            <pc:docMk/>
            <pc:sldMk cId="2372442375" sldId="1948"/>
            <ac:spMk id="40" creationId="{D910F746-1A32-2818-9B2F-832D2568CCF1}"/>
          </ac:spMkLst>
        </pc:spChg>
        <pc:spChg chg="mod">
          <ac:chgData name="Barnes, Charlie" userId="36117f77-fae6-4fb3-806b-c6a759ac5abb" providerId="ADAL" clId="{A742C20C-F491-48A5-A623-4756A7634A45}" dt="2024-08-02T13:40:28.452" v="839" actId="2711"/>
          <ac:spMkLst>
            <pc:docMk/>
            <pc:sldMk cId="2372442375" sldId="1948"/>
            <ac:spMk id="41" creationId="{7D00D32C-7F8C-5318-87E2-DF89CC2EC20D}"/>
          </ac:spMkLst>
        </pc:spChg>
        <pc:spChg chg="mod">
          <ac:chgData name="Barnes, Charlie" userId="36117f77-fae6-4fb3-806b-c6a759ac5abb" providerId="ADAL" clId="{A742C20C-F491-48A5-A623-4756A7634A45}" dt="2024-08-02T13:40:28.452" v="839" actId="2711"/>
          <ac:spMkLst>
            <pc:docMk/>
            <pc:sldMk cId="2372442375" sldId="1948"/>
            <ac:spMk id="67" creationId="{43D1C729-7950-1C8F-8169-111FDE888210}"/>
          </ac:spMkLst>
        </pc:spChg>
        <pc:spChg chg="mod">
          <ac:chgData name="Barnes, Charlie" userId="36117f77-fae6-4fb3-806b-c6a759ac5abb" providerId="ADAL" clId="{A742C20C-F491-48A5-A623-4756A7634A45}" dt="2024-08-02T13:40:49.914" v="849" actId="1037"/>
          <ac:spMkLst>
            <pc:docMk/>
            <pc:sldMk cId="2372442375" sldId="1948"/>
            <ac:spMk id="95" creationId="{0023B18A-BB0C-6FEC-BA31-74AB0FE70A16}"/>
          </ac:spMkLst>
        </pc:spChg>
        <pc:spChg chg="mod">
          <ac:chgData name="Barnes, Charlie" userId="36117f77-fae6-4fb3-806b-c6a759ac5abb" providerId="ADAL" clId="{A742C20C-F491-48A5-A623-4756A7634A45}" dt="2024-08-02T13:40:28.452" v="839" actId="2711"/>
          <ac:spMkLst>
            <pc:docMk/>
            <pc:sldMk cId="2372442375" sldId="1948"/>
            <ac:spMk id="113" creationId="{D2BB1DDB-DA44-E0CE-8130-BA91EA7C697C}"/>
          </ac:spMkLst>
        </pc:spChg>
        <pc:spChg chg="del mod">
          <ac:chgData name="Barnes, Charlie" userId="36117f77-fae6-4fb3-806b-c6a759ac5abb" providerId="ADAL" clId="{A742C20C-F491-48A5-A623-4756A7634A45}" dt="2024-08-02T13:45:51.943" v="851" actId="478"/>
          <ac:spMkLst>
            <pc:docMk/>
            <pc:sldMk cId="2372442375" sldId="1948"/>
            <ac:spMk id="115" creationId="{70B94444-4BBB-9824-245B-FD19CCF0EFB5}"/>
          </ac:spMkLst>
        </pc:spChg>
        <pc:spChg chg="del mod">
          <ac:chgData name="Barnes, Charlie" userId="36117f77-fae6-4fb3-806b-c6a759ac5abb" providerId="ADAL" clId="{A742C20C-F491-48A5-A623-4756A7634A45}" dt="2024-08-02T13:46:16.257" v="855" actId="478"/>
          <ac:spMkLst>
            <pc:docMk/>
            <pc:sldMk cId="2372442375" sldId="1948"/>
            <ac:spMk id="116" creationId="{5B6444FF-79C6-CAC8-D24B-2C591B50E3A3}"/>
          </ac:spMkLst>
        </pc:spChg>
        <pc:spChg chg="del mod">
          <ac:chgData name="Barnes, Charlie" userId="36117f77-fae6-4fb3-806b-c6a759ac5abb" providerId="ADAL" clId="{A742C20C-F491-48A5-A623-4756A7634A45}" dt="2024-08-02T13:40:42.613" v="840" actId="478"/>
          <ac:spMkLst>
            <pc:docMk/>
            <pc:sldMk cId="2372442375" sldId="1948"/>
            <ac:spMk id="117" creationId="{2F319555-AD43-21BF-BB72-2679368F3214}"/>
          </ac:spMkLst>
        </pc:spChg>
        <pc:cxnChg chg="mod">
          <ac:chgData name="Barnes, Charlie" userId="36117f77-fae6-4fb3-806b-c6a759ac5abb" providerId="ADAL" clId="{A742C20C-F491-48A5-A623-4756A7634A45}" dt="2024-08-02T13:40:49.914" v="849" actId="1037"/>
          <ac:cxnSpMkLst>
            <pc:docMk/>
            <pc:sldMk cId="2372442375" sldId="1948"/>
            <ac:cxnSpMk id="97" creationId="{C61BD115-0116-0678-0542-D1F35C4331F1}"/>
          </ac:cxnSpMkLst>
        </pc:cxn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41:01.885" v="850"/>
              <pc2:cmMkLst xmlns:pc2="http://schemas.microsoft.com/office/powerpoint/2019/9/main/command">
                <pc:docMk/>
                <pc:sldMk cId="2372442375" sldId="1948"/>
                <pc2:cmMk id="{F1A2F465-B683-44A4-8B59-4C9F506C9EF3}"/>
              </pc2:cmMkLst>
              <pc226:cmRplyChg chg="add">
                <pc226:chgData name="Barnes, Charlie" userId="36117f77-fae6-4fb3-806b-c6a759ac5abb" providerId="ADAL" clId="{A742C20C-F491-48A5-A623-4756A7634A45}" dt="2024-08-02T13:41:01.885" v="850"/>
                <pc2:cmRplyMkLst xmlns:pc2="http://schemas.microsoft.com/office/powerpoint/2019/9/main/command">
                  <pc:docMk/>
                  <pc:sldMk cId="2372442375" sldId="1948"/>
                  <pc2:cmMk id="{F1A2F465-B683-44A4-8B59-4C9F506C9EF3}"/>
                  <pc2:cmRplyMk id="{CA671974-A221-4852-A7AE-32BA03FEA2E5}"/>
                </pc2:cmRplyMkLst>
              </pc226:cmRplyChg>
            </pc226:cmChg>
            <pc226:cmChg xmlns:pc226="http://schemas.microsoft.com/office/powerpoint/2022/06/main/command" chg="mod">
              <pc226:chgData name="Barnes, Charlie" userId="36117f77-fae6-4fb3-806b-c6a759ac5abb" providerId="ADAL" clId="{A742C20C-F491-48A5-A623-4756A7634A45}" dt="2024-08-02T13:46:22.273" v="858"/>
              <pc2:cmMkLst xmlns:pc2="http://schemas.microsoft.com/office/powerpoint/2019/9/main/command">
                <pc:docMk/>
                <pc:sldMk cId="2372442375" sldId="1948"/>
                <pc2:cmMk id="{9C1FE8B8-A30E-4583-9DE4-382032328D48}"/>
              </pc2:cmMkLst>
              <pc226:cmRplyChg chg="add">
                <pc226:chgData name="Barnes, Charlie" userId="36117f77-fae6-4fb3-806b-c6a759ac5abb" providerId="ADAL" clId="{A742C20C-F491-48A5-A623-4756A7634A45}" dt="2024-08-02T13:46:22.273" v="858"/>
                <pc2:cmRplyMkLst xmlns:pc2="http://schemas.microsoft.com/office/powerpoint/2019/9/main/command">
                  <pc:docMk/>
                  <pc:sldMk cId="2372442375" sldId="1948"/>
                  <pc2:cmMk id="{9C1FE8B8-A30E-4583-9DE4-382032328D48}"/>
                  <pc2:cmRplyMk id="{47935E17-D38E-43C3-82C1-6372F0285407}"/>
                </pc2:cmRplyMkLst>
              </pc226:cmRplyChg>
            </pc226:cmChg>
            <pc226:cmChg xmlns:pc226="http://schemas.microsoft.com/office/powerpoint/2022/06/main/command" chg="mod">
              <pc226:chgData name="Barnes, Charlie" userId="36117f77-fae6-4fb3-806b-c6a759ac5abb" providerId="ADAL" clId="{A742C20C-F491-48A5-A623-4756A7634A45}" dt="2024-08-02T13:46:19.155" v="857"/>
              <pc2:cmMkLst xmlns:pc2="http://schemas.microsoft.com/office/powerpoint/2019/9/main/command">
                <pc:docMk/>
                <pc:sldMk cId="2372442375" sldId="1948"/>
                <pc2:cmMk id="{26E9F0E3-830B-4A8B-8510-0962B3186D0C}"/>
              </pc2:cmMkLst>
              <pc226:cmRplyChg chg="add">
                <pc226:chgData name="Barnes, Charlie" userId="36117f77-fae6-4fb3-806b-c6a759ac5abb" providerId="ADAL" clId="{A742C20C-F491-48A5-A623-4756A7634A45}" dt="2024-08-02T13:46:19.155" v="857"/>
                <pc2:cmRplyMkLst xmlns:pc2="http://schemas.microsoft.com/office/powerpoint/2019/9/main/command">
                  <pc:docMk/>
                  <pc:sldMk cId="2372442375" sldId="1948"/>
                  <pc2:cmMk id="{26E9F0E3-830B-4A8B-8510-0962B3186D0C}"/>
                  <pc2:cmRplyMk id="{3AE3241A-E69C-4031-8FBA-A9FED52719E3}"/>
                </pc2:cmRplyMkLst>
              </pc226:cmRplyChg>
            </pc226:cmChg>
          </p:ext>
        </pc:extLst>
      </pc:sldChg>
      <pc:sldChg chg="modSp">
        <pc:chgData name="Barnes, Charlie" userId="36117f77-fae6-4fb3-806b-c6a759ac5abb" providerId="ADAL" clId="{A742C20C-F491-48A5-A623-4756A7634A45}" dt="2024-08-02T13:46:30.622" v="862" actId="27636"/>
        <pc:sldMkLst>
          <pc:docMk/>
          <pc:sldMk cId="3877660935" sldId="1949"/>
        </pc:sldMkLst>
        <pc:spChg chg="mod">
          <ac:chgData name="Barnes, Charlie" userId="36117f77-fae6-4fb3-806b-c6a759ac5abb" providerId="ADAL" clId="{A742C20C-F491-48A5-A623-4756A7634A45}" dt="2024-08-02T13:46:30.622" v="862" actId="27636"/>
          <ac:spMkLst>
            <pc:docMk/>
            <pc:sldMk cId="3877660935" sldId="1949"/>
            <ac:spMk id="2" creationId="{320C5A00-BDAB-1E92-31DA-DB865DFCF8E1}"/>
          </ac:spMkLst>
        </pc:spChg>
        <pc:spChg chg="mod">
          <ac:chgData name="Barnes, Charlie" userId="36117f77-fae6-4fb3-806b-c6a759ac5abb" providerId="ADAL" clId="{A742C20C-F491-48A5-A623-4756A7634A45}" dt="2024-08-02T13:46:30.622" v="862" actId="27636"/>
          <ac:spMkLst>
            <pc:docMk/>
            <pc:sldMk cId="3877660935" sldId="1949"/>
            <ac:spMk id="3" creationId="{B98FBC70-51C1-465F-DD18-794665E430BA}"/>
          </ac:spMkLst>
        </pc:spChg>
        <pc:spChg chg="mod">
          <ac:chgData name="Barnes, Charlie" userId="36117f77-fae6-4fb3-806b-c6a759ac5abb" providerId="ADAL" clId="{A742C20C-F491-48A5-A623-4756A7634A45}" dt="2024-08-02T13:46:30.622" v="862" actId="27636"/>
          <ac:spMkLst>
            <pc:docMk/>
            <pc:sldMk cId="3877660935" sldId="1949"/>
            <ac:spMk id="4" creationId="{CA5C675F-93D5-C110-F9B6-7BB258626EA8}"/>
          </ac:spMkLst>
        </pc:spChg>
        <pc:spChg chg="mod">
          <ac:chgData name="Barnes, Charlie" userId="36117f77-fae6-4fb3-806b-c6a759ac5abb" providerId="ADAL" clId="{A742C20C-F491-48A5-A623-4756A7634A45}" dt="2024-08-02T13:46:30.622" v="862" actId="27636"/>
          <ac:spMkLst>
            <pc:docMk/>
            <pc:sldMk cId="3877660935" sldId="1949"/>
            <ac:spMk id="6" creationId="{B4C6E788-3090-A7C5-9A3C-8663038D4256}"/>
          </ac:spMkLst>
        </pc:spChg>
        <pc:spChg chg="mod">
          <ac:chgData name="Barnes, Charlie" userId="36117f77-fae6-4fb3-806b-c6a759ac5abb" providerId="ADAL" clId="{A742C20C-F491-48A5-A623-4756A7634A45}" dt="2024-08-02T13:46:30.622" v="862" actId="27636"/>
          <ac:spMkLst>
            <pc:docMk/>
            <pc:sldMk cId="3877660935" sldId="1949"/>
            <ac:spMk id="12" creationId="{E66A82BD-0B7B-1529-E17D-90FA0EE117A1}"/>
          </ac:spMkLst>
        </pc:spChg>
        <pc:spChg chg="mod">
          <ac:chgData name="Barnes, Charlie" userId="36117f77-fae6-4fb3-806b-c6a759ac5abb" providerId="ADAL" clId="{A742C20C-F491-48A5-A623-4756A7634A45}" dt="2024-08-02T13:46:30.622" v="862" actId="27636"/>
          <ac:spMkLst>
            <pc:docMk/>
            <pc:sldMk cId="3877660935" sldId="1949"/>
            <ac:spMk id="13" creationId="{CE50D697-58F5-2AE6-9F8D-74D45C66257E}"/>
          </ac:spMkLst>
        </pc:spChg>
        <pc:spChg chg="mod">
          <ac:chgData name="Barnes, Charlie" userId="36117f77-fae6-4fb3-806b-c6a759ac5abb" providerId="ADAL" clId="{A742C20C-F491-48A5-A623-4756A7634A45}" dt="2024-08-02T13:46:30.622" v="862" actId="27636"/>
          <ac:spMkLst>
            <pc:docMk/>
            <pc:sldMk cId="3877660935" sldId="1949"/>
            <ac:spMk id="14" creationId="{2372FDFD-3FA4-0CF1-2B03-6F3B2CDE75DA}"/>
          </ac:spMkLst>
        </pc:spChg>
        <pc:graphicFrameChg chg="mod">
          <ac:chgData name="Barnes, Charlie" userId="36117f77-fae6-4fb3-806b-c6a759ac5abb" providerId="ADAL" clId="{A742C20C-F491-48A5-A623-4756A7634A45}" dt="2024-08-02T13:46:30.622" v="862" actId="27636"/>
          <ac:graphicFrameMkLst>
            <pc:docMk/>
            <pc:sldMk cId="3877660935" sldId="1949"/>
            <ac:graphicFrameMk id="5" creationId="{D15CA2F3-1CE4-5907-31D7-4753DCBCD454}"/>
          </ac:graphicFrameMkLst>
        </pc:graphicFrameChg>
        <pc:graphicFrameChg chg="mod">
          <ac:chgData name="Barnes, Charlie" userId="36117f77-fae6-4fb3-806b-c6a759ac5abb" providerId="ADAL" clId="{A742C20C-F491-48A5-A623-4756A7634A45}" dt="2024-08-02T13:46:30.622" v="862" actId="27636"/>
          <ac:graphicFrameMkLst>
            <pc:docMk/>
            <pc:sldMk cId="3877660935" sldId="1949"/>
            <ac:graphicFrameMk id="7" creationId="{E4A623C4-3674-734E-6060-31BAD0D6B777}"/>
          </ac:graphicFrameMkLst>
        </pc:graphicFrameChg>
        <pc:graphicFrameChg chg="mod">
          <ac:chgData name="Barnes, Charlie" userId="36117f77-fae6-4fb3-806b-c6a759ac5abb" providerId="ADAL" clId="{A742C20C-F491-48A5-A623-4756A7634A45}" dt="2024-08-02T13:46:30.622" v="862" actId="27636"/>
          <ac:graphicFrameMkLst>
            <pc:docMk/>
            <pc:sldMk cId="3877660935" sldId="1949"/>
            <ac:graphicFrameMk id="8" creationId="{611F40F2-DAD2-4E85-9F69-C669C8E108F6}"/>
          </ac:graphicFrameMkLst>
        </pc:graphicFrameChg>
        <pc:graphicFrameChg chg="mod">
          <ac:chgData name="Barnes, Charlie" userId="36117f77-fae6-4fb3-806b-c6a759ac5abb" providerId="ADAL" clId="{A742C20C-F491-48A5-A623-4756A7634A45}" dt="2024-08-02T13:46:30.622" v="862" actId="27636"/>
          <ac:graphicFrameMkLst>
            <pc:docMk/>
            <pc:sldMk cId="3877660935" sldId="1949"/>
            <ac:graphicFrameMk id="9" creationId="{35A34725-8E59-40E4-9FA6-F3D2ADFB2A3B}"/>
          </ac:graphicFrameMkLst>
        </pc:graphicFrameChg>
        <pc:picChg chg="mod">
          <ac:chgData name="Barnes, Charlie" userId="36117f77-fae6-4fb3-806b-c6a759ac5abb" providerId="ADAL" clId="{A742C20C-F491-48A5-A623-4756A7634A45}" dt="2024-08-02T13:46:30.622" v="862" actId="27636"/>
          <ac:picMkLst>
            <pc:docMk/>
            <pc:sldMk cId="3877660935" sldId="1949"/>
            <ac:picMk id="11" creationId="{AD1DDEB1-CB3A-C148-5604-3911D178FC91}"/>
          </ac:picMkLst>
        </pc:picChg>
      </pc:sldChg>
      <pc:sldChg chg="modSp mod modCm">
        <pc:chgData name="Barnes, Charlie" userId="36117f77-fae6-4fb3-806b-c6a759ac5abb" providerId="ADAL" clId="{A742C20C-F491-48A5-A623-4756A7634A45}" dt="2024-08-02T13:38:29.584" v="686"/>
        <pc:sldMkLst>
          <pc:docMk/>
          <pc:sldMk cId="1289984638" sldId="2147471126"/>
        </pc:sldMkLst>
        <pc:spChg chg="mod">
          <ac:chgData name="Barnes, Charlie" userId="36117f77-fae6-4fb3-806b-c6a759ac5abb" providerId="ADAL" clId="{A742C20C-F491-48A5-A623-4756A7634A45}" dt="2024-08-02T13:37:42.327" v="631" actId="14100"/>
          <ac:spMkLst>
            <pc:docMk/>
            <pc:sldMk cId="1289984638" sldId="2147471126"/>
            <ac:spMk id="2" creationId="{449E521F-3C21-CB1D-E898-0D12A46439AB}"/>
          </ac:spMkLst>
        </pc:spChg>
        <pc:spChg chg="mod">
          <ac:chgData name="Barnes, Charlie" userId="36117f77-fae6-4fb3-806b-c6a759ac5abb" providerId="ADAL" clId="{A742C20C-F491-48A5-A623-4756A7634A45}" dt="2024-08-02T13:37:29.852" v="615" actId="2711"/>
          <ac:spMkLst>
            <pc:docMk/>
            <pc:sldMk cId="1289984638" sldId="2147471126"/>
            <ac:spMk id="5" creationId="{F4E00692-2EAE-38A2-6AF6-59ADBA605AA1}"/>
          </ac:spMkLst>
        </pc:spChg>
        <pc:spChg chg="mod">
          <ac:chgData name="Barnes, Charlie" userId="36117f77-fae6-4fb3-806b-c6a759ac5abb" providerId="ADAL" clId="{A742C20C-F491-48A5-A623-4756A7634A45}" dt="2024-08-02T13:37:29.852" v="615" actId="2711"/>
          <ac:spMkLst>
            <pc:docMk/>
            <pc:sldMk cId="1289984638" sldId="2147471126"/>
            <ac:spMk id="8" creationId="{B9B9A516-9EF8-1608-5DAE-8F608598184C}"/>
          </ac:spMkLst>
        </pc:spChg>
        <pc:spChg chg="mod">
          <ac:chgData name="Barnes, Charlie" userId="36117f77-fae6-4fb3-806b-c6a759ac5abb" providerId="ADAL" clId="{A742C20C-F491-48A5-A623-4756A7634A45}" dt="2024-08-02T13:37:29.852" v="615" actId="2711"/>
          <ac:spMkLst>
            <pc:docMk/>
            <pc:sldMk cId="1289984638" sldId="2147471126"/>
            <ac:spMk id="9" creationId="{72DF2889-E6FC-3279-3A7D-5A7D71763A3C}"/>
          </ac:spMkLst>
        </pc:spChg>
        <pc:spChg chg="mod">
          <ac:chgData name="Barnes, Charlie" userId="36117f77-fae6-4fb3-806b-c6a759ac5abb" providerId="ADAL" clId="{A742C20C-F491-48A5-A623-4756A7634A45}" dt="2024-08-02T13:37:29.852" v="615" actId="2711"/>
          <ac:spMkLst>
            <pc:docMk/>
            <pc:sldMk cId="1289984638" sldId="2147471126"/>
            <ac:spMk id="10" creationId="{5AC4D4BC-896A-8812-E1CE-FDDFE4532E62}"/>
          </ac:spMkLst>
        </pc:spChg>
        <pc:spChg chg="mod">
          <ac:chgData name="Barnes, Charlie" userId="36117f77-fae6-4fb3-806b-c6a759ac5abb" providerId="ADAL" clId="{A742C20C-F491-48A5-A623-4756A7634A45}" dt="2024-08-02T13:38:25.968" v="685" actId="20577"/>
          <ac:spMkLst>
            <pc:docMk/>
            <pc:sldMk cId="1289984638" sldId="2147471126"/>
            <ac:spMk id="11" creationId="{0AB41265-E0B4-2BA8-BDD1-4CD80F550609}"/>
          </ac:spMkLst>
        </pc:spChg>
        <pc:spChg chg="mod">
          <ac:chgData name="Barnes, Charlie" userId="36117f77-fae6-4fb3-806b-c6a759ac5abb" providerId="ADAL" clId="{A742C20C-F491-48A5-A623-4756A7634A45}" dt="2024-08-02T13:38:02.967" v="632" actId="255"/>
          <ac:spMkLst>
            <pc:docMk/>
            <pc:sldMk cId="1289984638" sldId="2147471126"/>
            <ac:spMk id="12" creationId="{BB1302CC-5026-DF80-4BB8-E48F63D93F3E}"/>
          </ac:spMkLst>
        </pc:spChg>
        <pc:spChg chg="mod">
          <ac:chgData name="Barnes, Charlie" userId="36117f77-fae6-4fb3-806b-c6a759ac5abb" providerId="ADAL" clId="{A742C20C-F491-48A5-A623-4756A7634A45}" dt="2024-08-02T13:38:02.967" v="632" actId="255"/>
          <ac:spMkLst>
            <pc:docMk/>
            <pc:sldMk cId="1289984638" sldId="2147471126"/>
            <ac:spMk id="13" creationId="{17A0A478-58C0-95AB-27F3-2A0A4135F17B}"/>
          </ac:spMkLst>
        </pc:spChg>
        <pc:spChg chg="mod">
          <ac:chgData name="Barnes, Charlie" userId="36117f77-fae6-4fb3-806b-c6a759ac5abb" providerId="ADAL" clId="{A742C20C-F491-48A5-A623-4756A7634A45}" dt="2024-08-02T13:38:02.967" v="632" actId="255"/>
          <ac:spMkLst>
            <pc:docMk/>
            <pc:sldMk cId="1289984638" sldId="2147471126"/>
            <ac:spMk id="14" creationId="{A034A168-BC75-0C68-89DF-A388CC093E5F}"/>
          </ac:spMkLst>
        </pc:spChg>
        <pc:spChg chg="mod">
          <ac:chgData name="Barnes, Charlie" userId="36117f77-fae6-4fb3-806b-c6a759ac5abb" providerId="ADAL" clId="{A742C20C-F491-48A5-A623-4756A7634A45}" dt="2024-08-02T13:37:29.852" v="615" actId="2711"/>
          <ac:spMkLst>
            <pc:docMk/>
            <pc:sldMk cId="1289984638" sldId="2147471126"/>
            <ac:spMk id="16" creationId="{89742697-749A-A028-66B1-0E42C8E080D1}"/>
          </ac:spMkLst>
        </pc:spChg>
        <pc:spChg chg="mod">
          <ac:chgData name="Barnes, Charlie" userId="36117f77-fae6-4fb3-806b-c6a759ac5abb" providerId="ADAL" clId="{A742C20C-F491-48A5-A623-4756A7634A45}" dt="2024-08-02T13:37:29.852" v="615" actId="2711"/>
          <ac:spMkLst>
            <pc:docMk/>
            <pc:sldMk cId="1289984638" sldId="2147471126"/>
            <ac:spMk id="18" creationId="{CCDE3BD2-6967-355F-8D3F-1BED8B627E25}"/>
          </ac:spMkLst>
        </pc:spChg>
        <pc:spChg chg="mod">
          <ac:chgData name="Barnes, Charlie" userId="36117f77-fae6-4fb3-806b-c6a759ac5abb" providerId="ADAL" clId="{A742C20C-F491-48A5-A623-4756A7634A45}" dt="2024-08-02T13:37:29.852" v="615" actId="2711"/>
          <ac:spMkLst>
            <pc:docMk/>
            <pc:sldMk cId="1289984638" sldId="2147471126"/>
            <ac:spMk id="26" creationId="{4726C4BD-3371-054F-4705-9C79BDE696BC}"/>
          </ac:spMkLst>
        </pc:spChg>
        <pc:spChg chg="mod">
          <ac:chgData name="Barnes, Charlie" userId="36117f77-fae6-4fb3-806b-c6a759ac5abb" providerId="ADAL" clId="{A742C20C-F491-48A5-A623-4756A7634A45}" dt="2024-08-02T13:37:29.852" v="615" actId="2711"/>
          <ac:spMkLst>
            <pc:docMk/>
            <pc:sldMk cId="1289984638" sldId="2147471126"/>
            <ac:spMk id="27" creationId="{732F5AD0-B68A-FCDD-43AC-7028388DB030}"/>
          </ac:spMkLst>
        </pc:spChg>
        <pc:spChg chg="mod">
          <ac:chgData name="Barnes, Charlie" userId="36117f77-fae6-4fb3-806b-c6a759ac5abb" providerId="ADAL" clId="{A742C20C-F491-48A5-A623-4756A7634A45}" dt="2024-08-02T13:37:29.852" v="615" actId="2711"/>
          <ac:spMkLst>
            <pc:docMk/>
            <pc:sldMk cId="1289984638" sldId="2147471126"/>
            <ac:spMk id="29" creationId="{F1BD7806-C598-7E6B-0E40-2076FFFB1752}"/>
          </ac:spMkLst>
        </pc:spChg>
        <pc:spChg chg="mod">
          <ac:chgData name="Barnes, Charlie" userId="36117f77-fae6-4fb3-806b-c6a759ac5abb" providerId="ADAL" clId="{A742C20C-F491-48A5-A623-4756A7634A45}" dt="2024-08-02T13:37:29.852" v="615" actId="2711"/>
          <ac:spMkLst>
            <pc:docMk/>
            <pc:sldMk cId="1289984638" sldId="2147471126"/>
            <ac:spMk id="31" creationId="{9B663A5F-71D0-2EAD-59D1-04A2AADF091C}"/>
          </ac:spMkLst>
        </pc:spChg>
        <pc:spChg chg="mod">
          <ac:chgData name="Barnes, Charlie" userId="36117f77-fae6-4fb3-806b-c6a759ac5abb" providerId="ADAL" clId="{A742C20C-F491-48A5-A623-4756A7634A45}" dt="2024-08-02T13:37:29.852" v="615" actId="2711"/>
          <ac:spMkLst>
            <pc:docMk/>
            <pc:sldMk cId="1289984638" sldId="2147471126"/>
            <ac:spMk id="34" creationId="{70C2A49E-E205-781C-A53A-A90CDC303241}"/>
          </ac:spMkLst>
        </pc:spChg>
        <pc:spChg chg="mod">
          <ac:chgData name="Barnes, Charlie" userId="36117f77-fae6-4fb3-806b-c6a759ac5abb" providerId="ADAL" clId="{A742C20C-F491-48A5-A623-4756A7634A45}" dt="2024-08-02T13:37:29.852" v="615" actId="2711"/>
          <ac:spMkLst>
            <pc:docMk/>
            <pc:sldMk cId="1289984638" sldId="2147471126"/>
            <ac:spMk id="35" creationId="{A247B78C-5E91-067F-8388-6B3F4FFD4E3C}"/>
          </ac:spMkLst>
        </pc:spChg>
        <pc:grpChg chg="mod">
          <ac:chgData name="Barnes, Charlie" userId="36117f77-fae6-4fb3-806b-c6a759ac5abb" providerId="ADAL" clId="{A742C20C-F491-48A5-A623-4756A7634A45}" dt="2024-08-02T13:37:29.852" v="615" actId="2711"/>
          <ac:grpSpMkLst>
            <pc:docMk/>
            <pc:sldMk cId="1289984638" sldId="2147471126"/>
            <ac:grpSpMk id="19" creationId="{D2C99FA0-A714-5A85-B312-25FC79160149}"/>
          </ac:grpSpMkLst>
        </pc:grpChg>
        <pc:picChg chg="mod">
          <ac:chgData name="Barnes, Charlie" userId="36117f77-fae6-4fb3-806b-c6a759ac5abb" providerId="ADAL" clId="{A742C20C-F491-48A5-A623-4756A7634A45}" dt="2024-08-02T13:37:29.852" v="615" actId="2711"/>
          <ac:picMkLst>
            <pc:docMk/>
            <pc:sldMk cId="1289984638" sldId="2147471126"/>
            <ac:picMk id="4" creationId="{3CFCA5DE-FCB7-FA07-88BE-5B0590460BB3}"/>
          </ac:picMkLst>
        </pc:picChg>
        <pc:picChg chg="mod">
          <ac:chgData name="Barnes, Charlie" userId="36117f77-fae6-4fb3-806b-c6a759ac5abb" providerId="ADAL" clId="{A742C20C-F491-48A5-A623-4756A7634A45}" dt="2024-08-02T13:37:29.852" v="615" actId="2711"/>
          <ac:picMkLst>
            <pc:docMk/>
            <pc:sldMk cId="1289984638" sldId="2147471126"/>
            <ac:picMk id="15" creationId="{21ADB130-DE32-9715-2DD0-92080FE31729}"/>
          </ac:picMkLst>
        </pc:picChg>
        <pc:picChg chg="mod">
          <ac:chgData name="Barnes, Charlie" userId="36117f77-fae6-4fb3-806b-c6a759ac5abb" providerId="ADAL" clId="{A742C20C-F491-48A5-A623-4756A7634A45}" dt="2024-08-02T13:37:29.852" v="615" actId="2711"/>
          <ac:picMkLst>
            <pc:docMk/>
            <pc:sldMk cId="1289984638" sldId="2147471126"/>
            <ac:picMk id="17" creationId="{146595EF-1583-F293-EDE1-8083A7840EE2}"/>
          </ac:picMkLst>
        </pc:pic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38:29.584" v="686"/>
              <pc2:cmMkLst xmlns:pc2="http://schemas.microsoft.com/office/powerpoint/2019/9/main/command">
                <pc:docMk/>
                <pc:sldMk cId="1289984638" sldId="2147471126"/>
                <pc2:cmMk id="{757D4296-D816-4052-8D09-C18AE7DE1893}"/>
              </pc2:cmMkLst>
              <pc226:cmRplyChg chg="add">
                <pc226:chgData name="Barnes, Charlie" userId="36117f77-fae6-4fb3-806b-c6a759ac5abb" providerId="ADAL" clId="{A742C20C-F491-48A5-A623-4756A7634A45}" dt="2024-08-02T13:38:29.584" v="686"/>
                <pc2:cmRplyMkLst xmlns:pc2="http://schemas.microsoft.com/office/powerpoint/2019/9/main/command">
                  <pc:docMk/>
                  <pc:sldMk cId="1289984638" sldId="2147471126"/>
                  <pc2:cmMk id="{757D4296-D816-4052-8D09-C18AE7DE1893}"/>
                  <pc2:cmRplyMk id="{BF7BE405-B03F-4836-840D-14E77BAB3B5F}"/>
                </pc2:cmRplyMkLst>
              </pc226:cmRplyChg>
            </pc226:cmChg>
          </p:ext>
        </pc:extLst>
      </pc:sldChg>
      <pc:sldChg chg="modSp">
        <pc:chgData name="Barnes, Charlie" userId="36117f77-fae6-4fb3-806b-c6a759ac5abb" providerId="ADAL" clId="{A742C20C-F491-48A5-A623-4756A7634A45}" dt="2024-08-02T13:38:37.766" v="689" actId="27636"/>
        <pc:sldMkLst>
          <pc:docMk/>
          <pc:sldMk cId="1615984575" sldId="2147471211"/>
        </pc:sldMkLst>
        <pc:spChg chg="mod">
          <ac:chgData name="Barnes, Charlie" userId="36117f77-fae6-4fb3-806b-c6a759ac5abb" providerId="ADAL" clId="{A742C20C-F491-48A5-A623-4756A7634A45}" dt="2024-08-02T13:38:37.766" v="689" actId="27636"/>
          <ac:spMkLst>
            <pc:docMk/>
            <pc:sldMk cId="1615984575" sldId="2147471211"/>
            <ac:spMk id="2" creationId="{264CE264-E582-97BB-979B-6AEC15AF7376}"/>
          </ac:spMkLst>
        </pc:spChg>
        <pc:spChg chg="mod">
          <ac:chgData name="Barnes, Charlie" userId="36117f77-fae6-4fb3-806b-c6a759ac5abb" providerId="ADAL" clId="{A742C20C-F491-48A5-A623-4756A7634A45}" dt="2024-08-02T13:38:37.766" v="689" actId="27636"/>
          <ac:spMkLst>
            <pc:docMk/>
            <pc:sldMk cId="1615984575" sldId="2147471211"/>
            <ac:spMk id="3" creationId="{C2C23479-3C5C-A846-D348-54A2B1A1EAF0}"/>
          </ac:spMkLst>
        </pc:spChg>
        <pc:spChg chg="mod">
          <ac:chgData name="Barnes, Charlie" userId="36117f77-fae6-4fb3-806b-c6a759ac5abb" providerId="ADAL" clId="{A742C20C-F491-48A5-A623-4756A7634A45}" dt="2024-08-02T13:38:37.766" v="689" actId="27636"/>
          <ac:spMkLst>
            <pc:docMk/>
            <pc:sldMk cId="1615984575" sldId="2147471211"/>
            <ac:spMk id="90" creationId="{F8391D6E-8C82-35EC-D5A9-944384304A9A}"/>
          </ac:spMkLst>
        </pc:spChg>
        <pc:spChg chg="mod">
          <ac:chgData name="Barnes, Charlie" userId="36117f77-fae6-4fb3-806b-c6a759ac5abb" providerId="ADAL" clId="{A742C20C-F491-48A5-A623-4756A7634A45}" dt="2024-08-02T13:38:37.766" v="689" actId="27636"/>
          <ac:spMkLst>
            <pc:docMk/>
            <pc:sldMk cId="1615984575" sldId="2147471211"/>
            <ac:spMk id="105" creationId="{FD1285B7-6C96-5583-D553-E92B10CC7154}"/>
          </ac:spMkLst>
        </pc:spChg>
        <pc:spChg chg="mod">
          <ac:chgData name="Barnes, Charlie" userId="36117f77-fae6-4fb3-806b-c6a759ac5abb" providerId="ADAL" clId="{A742C20C-F491-48A5-A623-4756A7634A45}" dt="2024-08-02T13:38:37.766" v="689" actId="27636"/>
          <ac:spMkLst>
            <pc:docMk/>
            <pc:sldMk cId="1615984575" sldId="2147471211"/>
            <ac:spMk id="106" creationId="{AF04DDEE-38DC-9101-CA7B-F46050016DEB}"/>
          </ac:spMkLst>
        </pc:spChg>
        <pc:spChg chg="mod">
          <ac:chgData name="Barnes, Charlie" userId="36117f77-fae6-4fb3-806b-c6a759ac5abb" providerId="ADAL" clId="{A742C20C-F491-48A5-A623-4756A7634A45}" dt="2024-08-02T13:38:37.766" v="689" actId="27636"/>
          <ac:spMkLst>
            <pc:docMk/>
            <pc:sldMk cId="1615984575" sldId="2147471211"/>
            <ac:spMk id="107" creationId="{179B8CFA-CDE7-E516-B214-60AA13833CB9}"/>
          </ac:spMkLst>
        </pc:spChg>
        <pc:spChg chg="mod">
          <ac:chgData name="Barnes, Charlie" userId="36117f77-fae6-4fb3-806b-c6a759ac5abb" providerId="ADAL" clId="{A742C20C-F491-48A5-A623-4756A7634A45}" dt="2024-08-02T13:38:37.766" v="689" actId="27636"/>
          <ac:spMkLst>
            <pc:docMk/>
            <pc:sldMk cId="1615984575" sldId="2147471211"/>
            <ac:spMk id="110" creationId="{B55B819C-D8E5-ED56-E3A2-664EB3B743D9}"/>
          </ac:spMkLst>
        </pc:spChg>
        <pc:spChg chg="mod">
          <ac:chgData name="Barnes, Charlie" userId="36117f77-fae6-4fb3-806b-c6a759ac5abb" providerId="ADAL" clId="{A742C20C-F491-48A5-A623-4756A7634A45}" dt="2024-08-02T13:38:37.766" v="689" actId="27636"/>
          <ac:spMkLst>
            <pc:docMk/>
            <pc:sldMk cId="1615984575" sldId="2147471211"/>
            <ac:spMk id="111" creationId="{E93C1972-111D-975C-5CED-877434D0DD78}"/>
          </ac:spMkLst>
        </pc:spChg>
        <pc:spChg chg="mod">
          <ac:chgData name="Barnes, Charlie" userId="36117f77-fae6-4fb3-806b-c6a759ac5abb" providerId="ADAL" clId="{A742C20C-F491-48A5-A623-4756A7634A45}" dt="2024-08-02T13:38:37.766" v="689" actId="27636"/>
          <ac:spMkLst>
            <pc:docMk/>
            <pc:sldMk cId="1615984575" sldId="2147471211"/>
            <ac:spMk id="112" creationId="{86B919EB-87B4-7E5A-8DDD-E6D2DCD11287}"/>
          </ac:spMkLst>
        </pc:spChg>
        <pc:spChg chg="mod">
          <ac:chgData name="Barnes, Charlie" userId="36117f77-fae6-4fb3-806b-c6a759ac5abb" providerId="ADAL" clId="{A742C20C-F491-48A5-A623-4756A7634A45}" dt="2024-08-02T13:38:37.766" v="689" actId="27636"/>
          <ac:spMkLst>
            <pc:docMk/>
            <pc:sldMk cId="1615984575" sldId="2147471211"/>
            <ac:spMk id="113" creationId="{B1D6B6C6-16C1-4F0A-D9A4-6ABE2FEE0DFF}"/>
          </ac:spMkLst>
        </pc:spChg>
        <pc:picChg chg="mod">
          <ac:chgData name="Barnes, Charlie" userId="36117f77-fae6-4fb3-806b-c6a759ac5abb" providerId="ADAL" clId="{A742C20C-F491-48A5-A623-4756A7634A45}" dt="2024-08-02T13:38:37.766" v="689" actId="27636"/>
          <ac:picMkLst>
            <pc:docMk/>
            <pc:sldMk cId="1615984575" sldId="2147471211"/>
            <ac:picMk id="4" creationId="{8C5317A7-4E7D-8A92-CC4A-FE69DE240124}"/>
          </ac:picMkLst>
        </pc:picChg>
      </pc:sldChg>
      <pc:sldChg chg="addSp modSp mod modCm">
        <pc:chgData name="Barnes, Charlie" userId="36117f77-fae6-4fb3-806b-c6a759ac5abb" providerId="ADAL" clId="{A742C20C-F491-48A5-A623-4756A7634A45}" dt="2024-08-02T13:48:28.456" v="887"/>
        <pc:sldMkLst>
          <pc:docMk/>
          <pc:sldMk cId="190935492" sldId="2147471214"/>
        </pc:sldMkLst>
        <pc:spChg chg="add mod">
          <ac:chgData name="Barnes, Charlie" userId="36117f77-fae6-4fb3-806b-c6a759ac5abb" providerId="ADAL" clId="{A742C20C-F491-48A5-A623-4756A7634A45}" dt="2024-08-02T13:48:09.851" v="885" actId="1076"/>
          <ac:spMkLst>
            <pc:docMk/>
            <pc:sldMk cId="190935492" sldId="2147471214"/>
            <ac:spMk id="3" creationId="{18DAFABF-C438-74AF-97D1-E9A584E86914}"/>
          </ac:spMkLst>
        </pc:spChg>
        <pc:spChg chg="mod">
          <ac:chgData name="Barnes, Charlie" userId="36117f77-fae6-4fb3-806b-c6a759ac5abb" providerId="ADAL" clId="{A742C20C-F491-48A5-A623-4756A7634A45}" dt="2024-08-02T13:48:12.090" v="886" actId="20577"/>
          <ac:spMkLst>
            <pc:docMk/>
            <pc:sldMk cId="190935492" sldId="2147471214"/>
            <ac:spMk id="26" creationId="{F0283CA4-15F5-FCD2-462B-3A7FC5484533}"/>
          </ac:spMkLst>
        </pc:sp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48:28.456" v="887"/>
              <pc2:cmMkLst xmlns:pc2="http://schemas.microsoft.com/office/powerpoint/2019/9/main/command">
                <pc:docMk/>
                <pc:sldMk cId="190935492" sldId="2147471214"/>
                <pc2:cmMk id="{B4DD48BC-05BB-40C5-83A4-79D54DD5BD26}"/>
              </pc2:cmMkLst>
              <pc226:cmRplyChg chg="add">
                <pc226:chgData name="Barnes, Charlie" userId="36117f77-fae6-4fb3-806b-c6a759ac5abb" providerId="ADAL" clId="{A742C20C-F491-48A5-A623-4756A7634A45}" dt="2024-08-02T13:48:28.456" v="887"/>
                <pc2:cmRplyMkLst xmlns:pc2="http://schemas.microsoft.com/office/powerpoint/2019/9/main/command">
                  <pc:docMk/>
                  <pc:sldMk cId="190935492" sldId="2147471214"/>
                  <pc2:cmMk id="{B4DD48BC-05BB-40C5-83A4-79D54DD5BD26}"/>
                  <pc2:cmRplyMk id="{CC1DAAF8-174D-469C-B30C-ADAAEEBF42BA}"/>
                </pc2:cmRplyMkLst>
              </pc226:cmRplyChg>
            </pc226:cmChg>
          </p:ext>
        </pc:extLst>
      </pc:sldChg>
      <pc:sldChg chg="modSp mod modCm">
        <pc:chgData name="Barnes, Charlie" userId="36117f77-fae6-4fb3-806b-c6a759ac5abb" providerId="ADAL" clId="{A742C20C-F491-48A5-A623-4756A7634A45}" dt="2024-08-02T13:29:03.212" v="429"/>
        <pc:sldMkLst>
          <pc:docMk/>
          <pc:sldMk cId="2788784130" sldId="2147471216"/>
        </pc:sldMkLst>
        <pc:spChg chg="mod">
          <ac:chgData name="Barnes, Charlie" userId="36117f77-fae6-4fb3-806b-c6a759ac5abb" providerId="ADAL" clId="{A742C20C-F491-48A5-A623-4756A7634A45}" dt="2024-08-02T13:28:39.453" v="424" actId="27636"/>
          <ac:spMkLst>
            <pc:docMk/>
            <pc:sldMk cId="2788784130" sldId="2147471216"/>
            <ac:spMk id="2" creationId="{4657E047-2582-133B-6B45-C6F76C520C4B}"/>
          </ac:spMkLst>
        </pc:spChg>
        <pc:spChg chg="mod">
          <ac:chgData name="Barnes, Charlie" userId="36117f77-fae6-4fb3-806b-c6a759ac5abb" providerId="ADAL" clId="{A742C20C-F491-48A5-A623-4756A7634A45}" dt="2024-08-02T13:28:39.453" v="424" actId="27636"/>
          <ac:spMkLst>
            <pc:docMk/>
            <pc:sldMk cId="2788784130" sldId="2147471216"/>
            <ac:spMk id="3" creationId="{CF3A8F12-92EA-1882-2A8A-E2743A16C6F7}"/>
          </ac:spMkLst>
        </pc:spChg>
        <pc:spChg chg="mod">
          <ac:chgData name="Barnes, Charlie" userId="36117f77-fae6-4fb3-806b-c6a759ac5abb" providerId="ADAL" clId="{A742C20C-F491-48A5-A623-4756A7634A45}" dt="2024-08-02T13:28:39.453" v="424" actId="27636"/>
          <ac:spMkLst>
            <pc:docMk/>
            <pc:sldMk cId="2788784130" sldId="2147471216"/>
            <ac:spMk id="5" creationId="{08B08394-F966-9EFD-C3BD-7332BE107D35}"/>
          </ac:spMkLst>
        </pc:spChg>
        <pc:spChg chg="mod">
          <ac:chgData name="Barnes, Charlie" userId="36117f77-fae6-4fb3-806b-c6a759ac5abb" providerId="ADAL" clId="{A742C20C-F491-48A5-A623-4756A7634A45}" dt="2024-08-02T13:28:39.453" v="424" actId="27636"/>
          <ac:spMkLst>
            <pc:docMk/>
            <pc:sldMk cId="2788784130" sldId="2147471216"/>
            <ac:spMk id="6" creationId="{84AEE208-2228-9A04-BC68-B0695A027B66}"/>
          </ac:spMkLst>
        </pc:spChg>
        <pc:spChg chg="mod">
          <ac:chgData name="Barnes, Charlie" userId="36117f77-fae6-4fb3-806b-c6a759ac5abb" providerId="ADAL" clId="{A742C20C-F491-48A5-A623-4756A7634A45}" dt="2024-08-02T13:28:39.453" v="424" actId="27636"/>
          <ac:spMkLst>
            <pc:docMk/>
            <pc:sldMk cId="2788784130" sldId="2147471216"/>
            <ac:spMk id="8" creationId="{F5BAD3F1-7F34-EB2D-7BDC-F08564A5EEB6}"/>
          </ac:spMkLst>
        </pc:spChg>
        <pc:spChg chg="mod">
          <ac:chgData name="Barnes, Charlie" userId="36117f77-fae6-4fb3-806b-c6a759ac5abb" providerId="ADAL" clId="{A742C20C-F491-48A5-A623-4756A7634A45}" dt="2024-08-02T13:28:39.453" v="424" actId="27636"/>
          <ac:spMkLst>
            <pc:docMk/>
            <pc:sldMk cId="2788784130" sldId="2147471216"/>
            <ac:spMk id="9" creationId="{C54F2911-7D85-ED43-80BD-E8BFFD0E2590}"/>
          </ac:spMkLst>
        </pc:spChg>
        <pc:spChg chg="mod">
          <ac:chgData name="Barnes, Charlie" userId="36117f77-fae6-4fb3-806b-c6a759ac5abb" providerId="ADAL" clId="{A742C20C-F491-48A5-A623-4756A7634A45}" dt="2024-08-02T13:28:43.751" v="425" actId="20577"/>
          <ac:spMkLst>
            <pc:docMk/>
            <pc:sldMk cId="2788784130" sldId="2147471216"/>
            <ac:spMk id="10" creationId="{29813BDA-6260-1522-3BDA-A365ECB087C0}"/>
          </ac:spMkLst>
        </pc:spChg>
        <pc:spChg chg="mod">
          <ac:chgData name="Barnes, Charlie" userId="36117f77-fae6-4fb3-806b-c6a759ac5abb" providerId="ADAL" clId="{A742C20C-F491-48A5-A623-4756A7634A45}" dt="2024-08-02T13:28:39.453" v="424" actId="27636"/>
          <ac:spMkLst>
            <pc:docMk/>
            <pc:sldMk cId="2788784130" sldId="2147471216"/>
            <ac:spMk id="11" creationId="{508B34C2-B095-29A1-1EC0-C892C531F386}"/>
          </ac:spMkLst>
        </pc:spChg>
        <pc:spChg chg="mod">
          <ac:chgData name="Barnes, Charlie" userId="36117f77-fae6-4fb3-806b-c6a759ac5abb" providerId="ADAL" clId="{A742C20C-F491-48A5-A623-4756A7634A45}" dt="2024-08-02T13:28:59.629" v="428" actId="20577"/>
          <ac:spMkLst>
            <pc:docMk/>
            <pc:sldMk cId="2788784130" sldId="2147471216"/>
            <ac:spMk id="13" creationId="{D844BB57-FDE5-3046-2823-5A43C69CD0B1}"/>
          </ac:spMkLst>
        </pc:spChg>
        <pc:spChg chg="mod">
          <ac:chgData name="Barnes, Charlie" userId="36117f77-fae6-4fb3-806b-c6a759ac5abb" providerId="ADAL" clId="{A742C20C-F491-48A5-A623-4756A7634A45}" dt="2024-08-02T13:28:39.453" v="424" actId="27636"/>
          <ac:spMkLst>
            <pc:docMk/>
            <pc:sldMk cId="2788784130" sldId="2147471216"/>
            <ac:spMk id="14" creationId="{A7844F08-1714-2077-55E6-1BDE8A4C6133}"/>
          </ac:spMkLst>
        </pc:spChg>
        <pc:spChg chg="mod">
          <ac:chgData name="Barnes, Charlie" userId="36117f77-fae6-4fb3-806b-c6a759ac5abb" providerId="ADAL" clId="{A742C20C-F491-48A5-A623-4756A7634A45}" dt="2024-08-02T13:28:39.453" v="424" actId="27636"/>
          <ac:spMkLst>
            <pc:docMk/>
            <pc:sldMk cId="2788784130" sldId="2147471216"/>
            <ac:spMk id="15" creationId="{F10FA18B-84FE-E925-AF66-8E409457F346}"/>
          </ac:spMkLst>
        </pc:spChg>
        <pc:spChg chg="mod">
          <ac:chgData name="Barnes, Charlie" userId="36117f77-fae6-4fb3-806b-c6a759ac5abb" providerId="ADAL" clId="{A742C20C-F491-48A5-A623-4756A7634A45}" dt="2024-08-02T13:28:39.453" v="424" actId="27636"/>
          <ac:spMkLst>
            <pc:docMk/>
            <pc:sldMk cId="2788784130" sldId="2147471216"/>
            <ac:spMk id="18" creationId="{E0B5B583-638C-DAC7-4D0A-E1D16E5452AD}"/>
          </ac:spMkLst>
        </pc:spChg>
        <pc:spChg chg="mod">
          <ac:chgData name="Barnes, Charlie" userId="36117f77-fae6-4fb3-806b-c6a759ac5abb" providerId="ADAL" clId="{A742C20C-F491-48A5-A623-4756A7634A45}" dt="2024-08-02T13:28:39.453" v="424" actId="27636"/>
          <ac:spMkLst>
            <pc:docMk/>
            <pc:sldMk cId="2788784130" sldId="2147471216"/>
            <ac:spMk id="19" creationId="{86292B9D-6A8D-F413-F25E-7EAFB75B0C0B}"/>
          </ac:spMkLst>
        </pc:spChg>
        <pc:spChg chg="mod">
          <ac:chgData name="Barnes, Charlie" userId="36117f77-fae6-4fb3-806b-c6a759ac5abb" providerId="ADAL" clId="{A742C20C-F491-48A5-A623-4756A7634A45}" dt="2024-08-02T13:28:39.453" v="424" actId="27636"/>
          <ac:spMkLst>
            <pc:docMk/>
            <pc:sldMk cId="2788784130" sldId="2147471216"/>
            <ac:spMk id="20" creationId="{78DF4F0C-E7C5-8079-DA0E-63D596CABF23}"/>
          </ac:spMkLst>
        </pc:spChg>
        <pc:spChg chg="mod">
          <ac:chgData name="Barnes, Charlie" userId="36117f77-fae6-4fb3-806b-c6a759ac5abb" providerId="ADAL" clId="{A742C20C-F491-48A5-A623-4756A7634A45}" dt="2024-08-02T13:28:39.453" v="424" actId="27636"/>
          <ac:spMkLst>
            <pc:docMk/>
            <pc:sldMk cId="2788784130" sldId="2147471216"/>
            <ac:spMk id="21" creationId="{2F909A2B-2BA9-437B-26B2-61994FA0804D}"/>
          </ac:spMkLst>
        </pc:spChg>
        <pc:spChg chg="mod">
          <ac:chgData name="Barnes, Charlie" userId="36117f77-fae6-4fb3-806b-c6a759ac5abb" providerId="ADAL" clId="{A742C20C-F491-48A5-A623-4756A7634A45}" dt="2024-08-02T13:28:39.453" v="424" actId="27636"/>
          <ac:spMkLst>
            <pc:docMk/>
            <pc:sldMk cId="2788784130" sldId="2147471216"/>
            <ac:spMk id="22" creationId="{0C0E5352-2D09-BE45-26E2-7EBB01F46AFC}"/>
          </ac:spMkLst>
        </pc:spChg>
        <pc:spChg chg="mod">
          <ac:chgData name="Barnes, Charlie" userId="36117f77-fae6-4fb3-806b-c6a759ac5abb" providerId="ADAL" clId="{A742C20C-F491-48A5-A623-4756A7634A45}" dt="2024-08-02T13:28:39.453" v="424" actId="27636"/>
          <ac:spMkLst>
            <pc:docMk/>
            <pc:sldMk cId="2788784130" sldId="2147471216"/>
            <ac:spMk id="23" creationId="{3AE0B218-DA09-8A93-EE0A-446A52AF9ADC}"/>
          </ac:spMkLst>
        </pc:spChg>
        <pc:spChg chg="mod">
          <ac:chgData name="Barnes, Charlie" userId="36117f77-fae6-4fb3-806b-c6a759ac5abb" providerId="ADAL" clId="{A742C20C-F491-48A5-A623-4756A7634A45}" dt="2024-08-02T13:28:39.453" v="424" actId="27636"/>
          <ac:spMkLst>
            <pc:docMk/>
            <pc:sldMk cId="2788784130" sldId="2147471216"/>
            <ac:spMk id="24" creationId="{6DB28A01-6907-2663-CE4D-A69D22C13A04}"/>
          </ac:spMkLst>
        </pc:spChg>
        <pc:spChg chg="mod">
          <ac:chgData name="Barnes, Charlie" userId="36117f77-fae6-4fb3-806b-c6a759ac5abb" providerId="ADAL" clId="{A742C20C-F491-48A5-A623-4756A7634A45}" dt="2024-08-02T13:28:39.453" v="424" actId="27636"/>
          <ac:spMkLst>
            <pc:docMk/>
            <pc:sldMk cId="2788784130" sldId="2147471216"/>
            <ac:spMk id="25" creationId="{4BF14F55-56B7-D45E-3E47-D8B2F26A427E}"/>
          </ac:spMkLst>
        </pc:spChg>
        <pc:spChg chg="mod">
          <ac:chgData name="Barnes, Charlie" userId="36117f77-fae6-4fb3-806b-c6a759ac5abb" providerId="ADAL" clId="{A742C20C-F491-48A5-A623-4756A7634A45}" dt="2024-08-02T13:28:39.453" v="424" actId="27636"/>
          <ac:spMkLst>
            <pc:docMk/>
            <pc:sldMk cId="2788784130" sldId="2147471216"/>
            <ac:spMk id="26" creationId="{E07C617F-5E72-3F5F-DBF1-9B0ED66C38DB}"/>
          </ac:spMkLst>
        </pc:spChg>
        <pc:spChg chg="mod">
          <ac:chgData name="Barnes, Charlie" userId="36117f77-fae6-4fb3-806b-c6a759ac5abb" providerId="ADAL" clId="{A742C20C-F491-48A5-A623-4756A7634A45}" dt="2024-08-02T13:28:39.453" v="424" actId="27636"/>
          <ac:spMkLst>
            <pc:docMk/>
            <pc:sldMk cId="2788784130" sldId="2147471216"/>
            <ac:spMk id="27" creationId="{B250737E-682B-BC2B-F23D-852971F00C1E}"/>
          </ac:spMkLst>
        </pc:spChg>
        <pc:spChg chg="mod">
          <ac:chgData name="Barnes, Charlie" userId="36117f77-fae6-4fb3-806b-c6a759ac5abb" providerId="ADAL" clId="{A742C20C-F491-48A5-A623-4756A7634A45}" dt="2024-08-02T13:28:39.453" v="424" actId="27636"/>
          <ac:spMkLst>
            <pc:docMk/>
            <pc:sldMk cId="2788784130" sldId="2147471216"/>
            <ac:spMk id="28" creationId="{5CA21F6A-A378-2474-EEFB-7F1D8C26CAD3}"/>
          </ac:spMkLst>
        </pc:spChg>
        <pc:spChg chg="mod">
          <ac:chgData name="Barnes, Charlie" userId="36117f77-fae6-4fb3-806b-c6a759ac5abb" providerId="ADAL" clId="{A742C20C-F491-48A5-A623-4756A7634A45}" dt="2024-08-02T13:28:39.453" v="424" actId="27636"/>
          <ac:spMkLst>
            <pc:docMk/>
            <pc:sldMk cId="2788784130" sldId="2147471216"/>
            <ac:spMk id="29" creationId="{9FC4259A-389A-16F8-C62F-E000C66747CD}"/>
          </ac:spMkLst>
        </pc:spChg>
        <pc:spChg chg="mod">
          <ac:chgData name="Barnes, Charlie" userId="36117f77-fae6-4fb3-806b-c6a759ac5abb" providerId="ADAL" clId="{A742C20C-F491-48A5-A623-4756A7634A45}" dt="2024-08-02T13:28:39.453" v="424" actId="27636"/>
          <ac:spMkLst>
            <pc:docMk/>
            <pc:sldMk cId="2788784130" sldId="2147471216"/>
            <ac:spMk id="30" creationId="{32AB38CF-A4B9-0A9D-41B8-B0F8FB8D14BB}"/>
          </ac:spMkLst>
        </pc:spChg>
        <pc:spChg chg="mod">
          <ac:chgData name="Barnes, Charlie" userId="36117f77-fae6-4fb3-806b-c6a759ac5abb" providerId="ADAL" clId="{A742C20C-F491-48A5-A623-4756A7634A45}" dt="2024-08-02T13:28:39.453" v="424" actId="27636"/>
          <ac:spMkLst>
            <pc:docMk/>
            <pc:sldMk cId="2788784130" sldId="2147471216"/>
            <ac:spMk id="31" creationId="{6C5CCE13-8369-3AC3-FDE1-394139271284}"/>
          </ac:spMkLst>
        </pc:spChg>
        <pc:spChg chg="mod">
          <ac:chgData name="Barnes, Charlie" userId="36117f77-fae6-4fb3-806b-c6a759ac5abb" providerId="ADAL" clId="{A742C20C-F491-48A5-A623-4756A7634A45}" dt="2024-08-02T13:28:39.453" v="424" actId="27636"/>
          <ac:spMkLst>
            <pc:docMk/>
            <pc:sldMk cId="2788784130" sldId="2147471216"/>
            <ac:spMk id="32" creationId="{17CBF0CA-2797-338F-5A75-CFA63CC93D50}"/>
          </ac:spMkLst>
        </pc:spChg>
        <pc:spChg chg="mod">
          <ac:chgData name="Barnes, Charlie" userId="36117f77-fae6-4fb3-806b-c6a759ac5abb" providerId="ADAL" clId="{A742C20C-F491-48A5-A623-4756A7634A45}" dt="2024-08-02T13:28:39.453" v="424" actId="27636"/>
          <ac:spMkLst>
            <pc:docMk/>
            <pc:sldMk cId="2788784130" sldId="2147471216"/>
            <ac:spMk id="33" creationId="{F7B4BF86-ACAE-EA44-9862-43E8B85D622A}"/>
          </ac:spMkLst>
        </pc:spChg>
        <pc:spChg chg="mod">
          <ac:chgData name="Barnes, Charlie" userId="36117f77-fae6-4fb3-806b-c6a759ac5abb" providerId="ADAL" clId="{A742C20C-F491-48A5-A623-4756A7634A45}" dt="2024-08-02T13:28:39.453" v="424" actId="27636"/>
          <ac:spMkLst>
            <pc:docMk/>
            <pc:sldMk cId="2788784130" sldId="2147471216"/>
            <ac:spMk id="34" creationId="{BDB745B2-6C06-ECBA-F71C-7A7095A9D72A}"/>
          </ac:spMkLst>
        </pc:spChg>
        <pc:spChg chg="mod">
          <ac:chgData name="Barnes, Charlie" userId="36117f77-fae6-4fb3-806b-c6a759ac5abb" providerId="ADAL" clId="{A742C20C-F491-48A5-A623-4756A7634A45}" dt="2024-08-02T13:28:39.453" v="424" actId="27636"/>
          <ac:spMkLst>
            <pc:docMk/>
            <pc:sldMk cId="2788784130" sldId="2147471216"/>
            <ac:spMk id="35" creationId="{F1F239BC-9545-AF9B-9246-A4D9B1F71CA3}"/>
          </ac:spMkLst>
        </pc:spChg>
        <pc:spChg chg="mod">
          <ac:chgData name="Barnes, Charlie" userId="36117f77-fae6-4fb3-806b-c6a759ac5abb" providerId="ADAL" clId="{A742C20C-F491-48A5-A623-4756A7634A45}" dt="2024-08-02T13:28:39.453" v="424" actId="27636"/>
          <ac:spMkLst>
            <pc:docMk/>
            <pc:sldMk cId="2788784130" sldId="2147471216"/>
            <ac:spMk id="36" creationId="{FE4F7089-2493-9973-355E-38434849F1FB}"/>
          </ac:spMkLst>
        </pc:spChg>
        <pc:spChg chg="mod">
          <ac:chgData name="Barnes, Charlie" userId="36117f77-fae6-4fb3-806b-c6a759ac5abb" providerId="ADAL" clId="{A742C20C-F491-48A5-A623-4756A7634A45}" dt="2024-08-02T13:28:39.453" v="424" actId="27636"/>
          <ac:spMkLst>
            <pc:docMk/>
            <pc:sldMk cId="2788784130" sldId="2147471216"/>
            <ac:spMk id="37" creationId="{B595F12F-A459-D5BF-980B-DAD4C8FE05D1}"/>
          </ac:spMkLst>
        </pc:spChg>
        <pc:spChg chg="mod">
          <ac:chgData name="Barnes, Charlie" userId="36117f77-fae6-4fb3-806b-c6a759ac5abb" providerId="ADAL" clId="{A742C20C-F491-48A5-A623-4756A7634A45}" dt="2024-08-02T13:28:39.453" v="424" actId="27636"/>
          <ac:spMkLst>
            <pc:docMk/>
            <pc:sldMk cId="2788784130" sldId="2147471216"/>
            <ac:spMk id="38" creationId="{3E21BF4D-64A1-61B1-3DC7-D29A1746FC31}"/>
          </ac:spMkLst>
        </pc:spChg>
        <pc:spChg chg="mod">
          <ac:chgData name="Barnes, Charlie" userId="36117f77-fae6-4fb3-806b-c6a759ac5abb" providerId="ADAL" clId="{A742C20C-F491-48A5-A623-4756A7634A45}" dt="2024-08-02T13:28:39.453" v="424" actId="27636"/>
          <ac:spMkLst>
            <pc:docMk/>
            <pc:sldMk cId="2788784130" sldId="2147471216"/>
            <ac:spMk id="43" creationId="{2E459594-8A91-C584-D339-F848F5FF2BA0}"/>
          </ac:spMkLst>
        </pc:spChg>
        <pc:spChg chg="mod">
          <ac:chgData name="Barnes, Charlie" userId="36117f77-fae6-4fb3-806b-c6a759ac5abb" providerId="ADAL" clId="{A742C20C-F491-48A5-A623-4756A7634A45}" dt="2024-08-02T13:28:39.453" v="424" actId="27636"/>
          <ac:spMkLst>
            <pc:docMk/>
            <pc:sldMk cId="2788784130" sldId="2147471216"/>
            <ac:spMk id="44" creationId="{BE5B9A3C-B526-6BFE-E174-3ACB3F126EE6}"/>
          </ac:spMkLst>
        </pc:spChg>
        <pc:spChg chg="mod">
          <ac:chgData name="Barnes, Charlie" userId="36117f77-fae6-4fb3-806b-c6a759ac5abb" providerId="ADAL" clId="{A742C20C-F491-48A5-A623-4756A7634A45}" dt="2024-08-02T13:28:39.453" v="424" actId="27636"/>
          <ac:spMkLst>
            <pc:docMk/>
            <pc:sldMk cId="2788784130" sldId="2147471216"/>
            <ac:spMk id="46" creationId="{2B227725-83C5-DCBA-6746-F0DD4631C3B2}"/>
          </ac:spMkLst>
        </pc:spChg>
        <pc:spChg chg="mod">
          <ac:chgData name="Barnes, Charlie" userId="36117f77-fae6-4fb3-806b-c6a759ac5abb" providerId="ADAL" clId="{A742C20C-F491-48A5-A623-4756A7634A45}" dt="2024-08-02T13:28:39.453" v="424" actId="27636"/>
          <ac:spMkLst>
            <pc:docMk/>
            <pc:sldMk cId="2788784130" sldId="2147471216"/>
            <ac:spMk id="47" creationId="{6380A40F-31AA-ED7D-5CBC-98806B4B9655}"/>
          </ac:spMkLst>
        </pc:spChg>
        <pc:spChg chg="mod">
          <ac:chgData name="Barnes, Charlie" userId="36117f77-fae6-4fb3-806b-c6a759ac5abb" providerId="ADAL" clId="{A742C20C-F491-48A5-A623-4756A7634A45}" dt="2024-08-02T13:28:39.453" v="424" actId="27636"/>
          <ac:spMkLst>
            <pc:docMk/>
            <pc:sldMk cId="2788784130" sldId="2147471216"/>
            <ac:spMk id="48" creationId="{B5559495-0295-50CC-2D02-94090262A264}"/>
          </ac:spMkLst>
        </pc:spChg>
        <pc:spChg chg="mod">
          <ac:chgData name="Barnes, Charlie" userId="36117f77-fae6-4fb3-806b-c6a759ac5abb" providerId="ADAL" clId="{A742C20C-F491-48A5-A623-4756A7634A45}" dt="2024-08-02T13:28:39.453" v="424" actId="27636"/>
          <ac:spMkLst>
            <pc:docMk/>
            <pc:sldMk cId="2788784130" sldId="2147471216"/>
            <ac:spMk id="49" creationId="{00EB7D81-3108-84B4-F552-670F69BAFE11}"/>
          </ac:spMkLst>
        </pc:spChg>
        <pc:spChg chg="mod">
          <ac:chgData name="Barnes, Charlie" userId="36117f77-fae6-4fb3-806b-c6a759ac5abb" providerId="ADAL" clId="{A742C20C-F491-48A5-A623-4756A7634A45}" dt="2024-08-02T13:28:39.453" v="424" actId="27636"/>
          <ac:spMkLst>
            <pc:docMk/>
            <pc:sldMk cId="2788784130" sldId="2147471216"/>
            <ac:spMk id="50" creationId="{2BA489FB-8949-360F-CBE4-7C7ED3FF88B5}"/>
          </ac:spMkLst>
        </pc:spChg>
        <pc:spChg chg="mod">
          <ac:chgData name="Barnes, Charlie" userId="36117f77-fae6-4fb3-806b-c6a759ac5abb" providerId="ADAL" clId="{A742C20C-F491-48A5-A623-4756A7634A45}" dt="2024-08-02T13:28:39.453" v="424" actId="27636"/>
          <ac:spMkLst>
            <pc:docMk/>
            <pc:sldMk cId="2788784130" sldId="2147471216"/>
            <ac:spMk id="75" creationId="{81BAF802-6EA5-5115-0FB3-765EC3E481A5}"/>
          </ac:spMkLst>
        </pc:spChg>
        <pc:spChg chg="mod">
          <ac:chgData name="Barnes, Charlie" userId="36117f77-fae6-4fb3-806b-c6a759ac5abb" providerId="ADAL" clId="{A742C20C-F491-48A5-A623-4756A7634A45}" dt="2024-08-02T13:28:39.453" v="424" actId="27636"/>
          <ac:spMkLst>
            <pc:docMk/>
            <pc:sldMk cId="2788784130" sldId="2147471216"/>
            <ac:spMk id="80" creationId="{891D6BEC-E322-BC87-DAD5-D7487083B2B8}"/>
          </ac:spMkLst>
        </pc:spChg>
        <pc:spChg chg="mod">
          <ac:chgData name="Barnes, Charlie" userId="36117f77-fae6-4fb3-806b-c6a759ac5abb" providerId="ADAL" clId="{A742C20C-F491-48A5-A623-4756A7634A45}" dt="2024-08-02T13:28:39.453" v="424" actId="27636"/>
          <ac:spMkLst>
            <pc:docMk/>
            <pc:sldMk cId="2788784130" sldId="2147471216"/>
            <ac:spMk id="81" creationId="{40BCC881-6EA5-3065-884F-C9D9413E2D96}"/>
          </ac:spMkLst>
        </pc:spChg>
        <pc:spChg chg="mod">
          <ac:chgData name="Barnes, Charlie" userId="36117f77-fae6-4fb3-806b-c6a759ac5abb" providerId="ADAL" clId="{A742C20C-F491-48A5-A623-4756A7634A45}" dt="2024-08-02T13:28:39.453" v="424" actId="27636"/>
          <ac:spMkLst>
            <pc:docMk/>
            <pc:sldMk cId="2788784130" sldId="2147471216"/>
            <ac:spMk id="94" creationId="{BCCE608B-9E89-37B0-A857-F98AA2CC0C95}"/>
          </ac:spMkLst>
        </pc:spChg>
        <pc:spChg chg="mod">
          <ac:chgData name="Barnes, Charlie" userId="36117f77-fae6-4fb3-806b-c6a759ac5abb" providerId="ADAL" clId="{A742C20C-F491-48A5-A623-4756A7634A45}" dt="2024-08-02T13:28:39.453" v="424" actId="27636"/>
          <ac:spMkLst>
            <pc:docMk/>
            <pc:sldMk cId="2788784130" sldId="2147471216"/>
            <ac:spMk id="95" creationId="{519FFB90-320F-3B91-FEB7-E09CF2056765}"/>
          </ac:spMkLst>
        </pc:spChg>
        <pc:spChg chg="mod">
          <ac:chgData name="Barnes, Charlie" userId="36117f77-fae6-4fb3-806b-c6a759ac5abb" providerId="ADAL" clId="{A742C20C-F491-48A5-A623-4756A7634A45}" dt="2024-08-02T13:28:39.453" v="424" actId="27636"/>
          <ac:spMkLst>
            <pc:docMk/>
            <pc:sldMk cId="2788784130" sldId="2147471216"/>
            <ac:spMk id="96" creationId="{C0C7D9C3-EF0B-D02F-D018-1F8CA18F3EE1}"/>
          </ac:spMkLst>
        </pc:spChg>
        <pc:spChg chg="mod">
          <ac:chgData name="Barnes, Charlie" userId="36117f77-fae6-4fb3-806b-c6a759ac5abb" providerId="ADAL" clId="{A742C20C-F491-48A5-A623-4756A7634A45}" dt="2024-08-02T13:28:39.453" v="424" actId="27636"/>
          <ac:spMkLst>
            <pc:docMk/>
            <pc:sldMk cId="2788784130" sldId="2147471216"/>
            <ac:spMk id="97" creationId="{B3A4A83C-79F3-F24F-99C0-C6EEE134E488}"/>
          </ac:spMkLst>
        </pc:spChg>
        <pc:spChg chg="mod">
          <ac:chgData name="Barnes, Charlie" userId="36117f77-fae6-4fb3-806b-c6a759ac5abb" providerId="ADAL" clId="{A742C20C-F491-48A5-A623-4756A7634A45}" dt="2024-08-02T13:28:39.453" v="424" actId="27636"/>
          <ac:spMkLst>
            <pc:docMk/>
            <pc:sldMk cId="2788784130" sldId="2147471216"/>
            <ac:spMk id="98" creationId="{1ED44D1E-0F5D-6F0E-6BA8-0944092D3B3B}"/>
          </ac:spMkLst>
        </pc:spChg>
        <pc:spChg chg="mod">
          <ac:chgData name="Barnes, Charlie" userId="36117f77-fae6-4fb3-806b-c6a759ac5abb" providerId="ADAL" clId="{A742C20C-F491-48A5-A623-4756A7634A45}" dt="2024-08-02T13:28:39.453" v="424" actId="27636"/>
          <ac:spMkLst>
            <pc:docMk/>
            <pc:sldMk cId="2788784130" sldId="2147471216"/>
            <ac:spMk id="99" creationId="{00577C7E-F749-877C-D85D-10A2F9A2ADE0}"/>
          </ac:spMkLst>
        </pc:spChg>
        <pc:grpChg chg="mod">
          <ac:chgData name="Barnes, Charlie" userId="36117f77-fae6-4fb3-806b-c6a759ac5abb" providerId="ADAL" clId="{A742C20C-F491-48A5-A623-4756A7634A45}" dt="2024-08-02T13:28:39.453" v="424" actId="27636"/>
          <ac:grpSpMkLst>
            <pc:docMk/>
            <pc:sldMk cId="2788784130" sldId="2147471216"/>
            <ac:grpSpMk id="53" creationId="{4AC159F2-9FA8-2341-E4BF-B5E652C722BD}"/>
          </ac:grpSpMkLst>
        </pc:grpChg>
        <pc:grpChg chg="mod">
          <ac:chgData name="Barnes, Charlie" userId="36117f77-fae6-4fb3-806b-c6a759ac5abb" providerId="ADAL" clId="{A742C20C-F491-48A5-A623-4756A7634A45}" dt="2024-08-02T13:28:39.453" v="424" actId="27636"/>
          <ac:grpSpMkLst>
            <pc:docMk/>
            <pc:sldMk cId="2788784130" sldId="2147471216"/>
            <ac:grpSpMk id="83" creationId="{5609021F-69FC-A814-2B85-ED53B63CB84F}"/>
          </ac:grpSpMkLst>
        </pc:grpChg>
        <pc:picChg chg="mod">
          <ac:chgData name="Barnes, Charlie" userId="36117f77-fae6-4fb3-806b-c6a759ac5abb" providerId="ADAL" clId="{A742C20C-F491-48A5-A623-4756A7634A45}" dt="2024-08-02T13:28:39.453" v="424" actId="27636"/>
          <ac:picMkLst>
            <pc:docMk/>
            <pc:sldMk cId="2788784130" sldId="2147471216"/>
            <ac:picMk id="4" creationId="{2F6610AD-6E0B-42B4-9C44-3D94E0D76074}"/>
          </ac:picMkLst>
        </pc:picChg>
        <pc:picChg chg="mod">
          <ac:chgData name="Barnes, Charlie" userId="36117f77-fae6-4fb3-806b-c6a759ac5abb" providerId="ADAL" clId="{A742C20C-F491-48A5-A623-4756A7634A45}" dt="2024-08-02T13:28:39.453" v="424" actId="27636"/>
          <ac:picMkLst>
            <pc:docMk/>
            <pc:sldMk cId="2788784130" sldId="2147471216"/>
            <ac:picMk id="52" creationId="{1219F78D-1D45-CD3F-90A4-071ED2A2D7C1}"/>
          </ac:picMkLst>
        </pc:picChg>
        <pc:picChg chg="mod">
          <ac:chgData name="Barnes, Charlie" userId="36117f77-fae6-4fb3-806b-c6a759ac5abb" providerId="ADAL" clId="{A742C20C-F491-48A5-A623-4756A7634A45}" dt="2024-08-02T13:28:39.453" v="424" actId="27636"/>
          <ac:picMkLst>
            <pc:docMk/>
            <pc:sldMk cId="2788784130" sldId="2147471216"/>
            <ac:picMk id="76" creationId="{5F23C074-C380-F282-0C26-F707FB7C146D}"/>
          </ac:picMkLst>
        </pc:picChg>
        <pc:picChg chg="mod">
          <ac:chgData name="Barnes, Charlie" userId="36117f77-fae6-4fb3-806b-c6a759ac5abb" providerId="ADAL" clId="{A742C20C-F491-48A5-A623-4756A7634A45}" dt="2024-08-02T13:28:39.453" v="424" actId="27636"/>
          <ac:picMkLst>
            <pc:docMk/>
            <pc:sldMk cId="2788784130" sldId="2147471216"/>
            <ac:picMk id="77" creationId="{037D63D3-EE02-2E0A-AA3B-2E54E4C0BF42}"/>
          </ac:picMkLst>
        </pc:picChg>
        <pc:picChg chg="mod">
          <ac:chgData name="Barnes, Charlie" userId="36117f77-fae6-4fb3-806b-c6a759ac5abb" providerId="ADAL" clId="{A742C20C-F491-48A5-A623-4756A7634A45}" dt="2024-08-02T13:28:39.453" v="424" actId="27636"/>
          <ac:picMkLst>
            <pc:docMk/>
            <pc:sldMk cId="2788784130" sldId="2147471216"/>
            <ac:picMk id="78" creationId="{8202903E-3A6A-E7CF-A5CD-40940B71B59B}"/>
          </ac:picMkLst>
        </pc:picChg>
        <pc:picChg chg="mod">
          <ac:chgData name="Barnes, Charlie" userId="36117f77-fae6-4fb3-806b-c6a759ac5abb" providerId="ADAL" clId="{A742C20C-F491-48A5-A623-4756A7634A45}" dt="2024-08-02T13:28:39.453" v="424" actId="27636"/>
          <ac:picMkLst>
            <pc:docMk/>
            <pc:sldMk cId="2788784130" sldId="2147471216"/>
            <ac:picMk id="82" creationId="{E7C4D2BE-BE9F-5A1F-D723-857386D021E1}"/>
          </ac:picMkLst>
        </pc:picChg>
        <pc:picChg chg="mod">
          <ac:chgData name="Barnes, Charlie" userId="36117f77-fae6-4fb3-806b-c6a759ac5abb" providerId="ADAL" clId="{A742C20C-F491-48A5-A623-4756A7634A45}" dt="2024-08-02T13:28:39.453" v="424" actId="27636"/>
          <ac:picMkLst>
            <pc:docMk/>
            <pc:sldMk cId="2788784130" sldId="2147471216"/>
            <ac:picMk id="90" creationId="{4133B072-2267-60AA-0963-670BC2A2FF45}"/>
          </ac:picMkLst>
        </pc:picChg>
        <pc:picChg chg="mod">
          <ac:chgData name="Barnes, Charlie" userId="36117f77-fae6-4fb3-806b-c6a759ac5abb" providerId="ADAL" clId="{A742C20C-F491-48A5-A623-4756A7634A45}" dt="2024-08-02T13:28:39.453" v="424" actId="27636"/>
          <ac:picMkLst>
            <pc:docMk/>
            <pc:sldMk cId="2788784130" sldId="2147471216"/>
            <ac:picMk id="91" creationId="{FFFE9B3A-C24E-389A-D0F9-A7F0DEF8A061}"/>
          </ac:picMkLst>
        </pc:picChg>
        <pc:picChg chg="mod">
          <ac:chgData name="Barnes, Charlie" userId="36117f77-fae6-4fb3-806b-c6a759ac5abb" providerId="ADAL" clId="{A742C20C-F491-48A5-A623-4756A7634A45}" dt="2024-08-02T13:28:39.453" v="424" actId="27636"/>
          <ac:picMkLst>
            <pc:docMk/>
            <pc:sldMk cId="2788784130" sldId="2147471216"/>
            <ac:picMk id="93" creationId="{EDDDBE81-05A6-CB10-EBFF-F63092FAAAEB}"/>
          </ac:picMkLst>
        </pc:picChg>
        <pc:picChg chg="mod">
          <ac:chgData name="Barnes, Charlie" userId="36117f77-fae6-4fb3-806b-c6a759ac5abb" providerId="ADAL" clId="{A742C20C-F491-48A5-A623-4756A7634A45}" dt="2024-08-02T13:28:39.453" v="424" actId="27636"/>
          <ac:picMkLst>
            <pc:docMk/>
            <pc:sldMk cId="2788784130" sldId="2147471216"/>
            <ac:picMk id="101" creationId="{05DF1CEA-8E6C-A4D5-34C1-EEE0D1E26A3F}"/>
          </ac:picMkLst>
        </pc:picChg>
        <pc:cxnChg chg="mod">
          <ac:chgData name="Barnes, Charlie" userId="36117f77-fae6-4fb3-806b-c6a759ac5abb" providerId="ADAL" clId="{A742C20C-F491-48A5-A623-4756A7634A45}" dt="2024-08-02T13:28:39.453" v="424" actId="27636"/>
          <ac:cxnSpMkLst>
            <pc:docMk/>
            <pc:sldMk cId="2788784130" sldId="2147471216"/>
            <ac:cxnSpMk id="74" creationId="{5186BF24-610C-7E9C-E652-D791F200E34E}"/>
          </ac:cxnSpMkLst>
        </pc:cxnChg>
        <pc:cxnChg chg="mod">
          <ac:chgData name="Barnes, Charlie" userId="36117f77-fae6-4fb3-806b-c6a759ac5abb" providerId="ADAL" clId="{A742C20C-F491-48A5-A623-4756A7634A45}" dt="2024-08-02T13:28:39.453" v="424" actId="27636"/>
          <ac:cxnSpMkLst>
            <pc:docMk/>
            <pc:sldMk cId="2788784130" sldId="2147471216"/>
            <ac:cxnSpMk id="79" creationId="{4CBC25EA-B62D-B355-032C-00F1E10788D1}"/>
          </ac:cxnSpMkLst>
        </pc:cxnChg>
        <pc:cxnChg chg="mod">
          <ac:chgData name="Barnes, Charlie" userId="36117f77-fae6-4fb3-806b-c6a759ac5abb" providerId="ADAL" clId="{A742C20C-F491-48A5-A623-4756A7634A45}" dt="2024-08-02T13:28:39.453" v="424" actId="27636"/>
          <ac:cxnSpMkLst>
            <pc:docMk/>
            <pc:sldMk cId="2788784130" sldId="2147471216"/>
            <ac:cxnSpMk id="92" creationId="{2F5E8D87-D665-C284-7AAD-FE590964134A}"/>
          </ac:cxnSpMkLst>
        </pc:cxn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29:03.212" v="429"/>
              <pc2:cmMkLst xmlns:pc2="http://schemas.microsoft.com/office/powerpoint/2019/9/main/command">
                <pc:docMk/>
                <pc:sldMk cId="2788784130" sldId="2147471216"/>
                <pc2:cmMk id="{05B7C33A-C5F8-4208-A7CD-1A358B1568F0}"/>
              </pc2:cmMkLst>
              <pc226:cmRplyChg chg="add">
                <pc226:chgData name="Barnes, Charlie" userId="36117f77-fae6-4fb3-806b-c6a759ac5abb" providerId="ADAL" clId="{A742C20C-F491-48A5-A623-4756A7634A45}" dt="2024-08-02T13:29:03.212" v="429"/>
                <pc2:cmRplyMkLst xmlns:pc2="http://schemas.microsoft.com/office/powerpoint/2019/9/main/command">
                  <pc:docMk/>
                  <pc:sldMk cId="2788784130" sldId="2147471216"/>
                  <pc2:cmMk id="{05B7C33A-C5F8-4208-A7CD-1A358B1568F0}"/>
                  <pc2:cmRplyMk id="{8672122E-63CE-41B3-AACC-AE8A8D2E49D0}"/>
                </pc2:cmRplyMkLst>
              </pc226:cmRplyChg>
            </pc226:cmChg>
          </p:ext>
        </pc:extLst>
      </pc:sldChg>
      <pc:sldChg chg="modSp mod">
        <pc:chgData name="Barnes, Charlie" userId="36117f77-fae6-4fb3-806b-c6a759ac5abb" providerId="ADAL" clId="{A742C20C-F491-48A5-A623-4756A7634A45}" dt="2024-08-02T13:37:21.668" v="614" actId="404"/>
        <pc:sldMkLst>
          <pc:docMk/>
          <pc:sldMk cId="4147735" sldId="2147471219"/>
        </pc:sldMkLst>
        <pc:spChg chg="mod">
          <ac:chgData name="Barnes, Charlie" userId="36117f77-fae6-4fb3-806b-c6a759ac5abb" providerId="ADAL" clId="{A742C20C-F491-48A5-A623-4756A7634A45}" dt="2024-08-02T13:37:18.516" v="613" actId="20577"/>
          <ac:spMkLst>
            <pc:docMk/>
            <pc:sldMk cId="4147735" sldId="2147471219"/>
            <ac:spMk id="2" creationId="{4657E047-2582-133B-6B45-C6F76C520C4B}"/>
          </ac:spMkLst>
        </pc:spChg>
        <pc:spChg chg="mod">
          <ac:chgData name="Barnes, Charlie" userId="36117f77-fae6-4fb3-806b-c6a759ac5abb" providerId="ADAL" clId="{A742C20C-F491-48A5-A623-4756A7634A45}" dt="2024-08-02T13:37:13.899" v="602" actId="27636"/>
          <ac:spMkLst>
            <pc:docMk/>
            <pc:sldMk cId="4147735" sldId="2147471219"/>
            <ac:spMk id="3" creationId="{4831F7EE-6C4B-9AD9-C9D6-D9BBDF144E28}"/>
          </ac:spMkLst>
        </pc:spChg>
        <pc:spChg chg="mod">
          <ac:chgData name="Barnes, Charlie" userId="36117f77-fae6-4fb3-806b-c6a759ac5abb" providerId="ADAL" clId="{A742C20C-F491-48A5-A623-4756A7634A45}" dt="2024-08-02T13:37:13.899" v="602" actId="27636"/>
          <ac:spMkLst>
            <pc:docMk/>
            <pc:sldMk cId="4147735" sldId="2147471219"/>
            <ac:spMk id="9" creationId="{F2A847F5-76A6-DB8D-0FBA-E6C8900A5959}"/>
          </ac:spMkLst>
        </pc:spChg>
        <pc:spChg chg="mod">
          <ac:chgData name="Barnes, Charlie" userId="36117f77-fae6-4fb3-806b-c6a759ac5abb" providerId="ADAL" clId="{A742C20C-F491-48A5-A623-4756A7634A45}" dt="2024-08-02T13:37:13.881" v="601" actId="404"/>
          <ac:spMkLst>
            <pc:docMk/>
            <pc:sldMk cId="4147735" sldId="2147471219"/>
            <ac:spMk id="28" creationId="{4334B985-048A-37F1-B3F6-398ED438ACD9}"/>
          </ac:spMkLst>
        </pc:spChg>
        <pc:spChg chg="mod">
          <ac:chgData name="Barnes, Charlie" userId="36117f77-fae6-4fb3-806b-c6a759ac5abb" providerId="ADAL" clId="{A742C20C-F491-48A5-A623-4756A7634A45}" dt="2024-08-02T13:37:13.881" v="601" actId="404"/>
          <ac:spMkLst>
            <pc:docMk/>
            <pc:sldMk cId="4147735" sldId="2147471219"/>
            <ac:spMk id="29" creationId="{D72671D6-EFCF-4170-9F1A-3FDF4BADA86E}"/>
          </ac:spMkLst>
        </pc:spChg>
        <pc:spChg chg="mod">
          <ac:chgData name="Barnes, Charlie" userId="36117f77-fae6-4fb3-806b-c6a759ac5abb" providerId="ADAL" clId="{A742C20C-F491-48A5-A623-4756A7634A45}" dt="2024-08-02T13:37:13.881" v="601" actId="404"/>
          <ac:spMkLst>
            <pc:docMk/>
            <pc:sldMk cId="4147735" sldId="2147471219"/>
            <ac:spMk id="30" creationId="{10EC5634-6FA8-7F62-8A8D-FE1F769CD3D1}"/>
          </ac:spMkLst>
        </pc:spChg>
        <pc:spChg chg="mod">
          <ac:chgData name="Barnes, Charlie" userId="36117f77-fae6-4fb3-806b-c6a759ac5abb" providerId="ADAL" clId="{A742C20C-F491-48A5-A623-4756A7634A45}" dt="2024-08-02T13:37:13.881" v="601" actId="404"/>
          <ac:spMkLst>
            <pc:docMk/>
            <pc:sldMk cId="4147735" sldId="2147471219"/>
            <ac:spMk id="32" creationId="{82E80884-4441-0EC8-628A-64224516E6D6}"/>
          </ac:spMkLst>
        </pc:spChg>
        <pc:spChg chg="mod">
          <ac:chgData name="Barnes, Charlie" userId="36117f77-fae6-4fb3-806b-c6a759ac5abb" providerId="ADAL" clId="{A742C20C-F491-48A5-A623-4756A7634A45}" dt="2024-08-02T13:37:13.881" v="601" actId="404"/>
          <ac:spMkLst>
            <pc:docMk/>
            <pc:sldMk cId="4147735" sldId="2147471219"/>
            <ac:spMk id="33" creationId="{73E080AD-1CDB-1D61-DF72-84814230D979}"/>
          </ac:spMkLst>
        </pc:spChg>
        <pc:spChg chg="mod">
          <ac:chgData name="Barnes, Charlie" userId="36117f77-fae6-4fb3-806b-c6a759ac5abb" providerId="ADAL" clId="{A742C20C-F491-48A5-A623-4756A7634A45}" dt="2024-08-02T13:37:13.881" v="601" actId="404"/>
          <ac:spMkLst>
            <pc:docMk/>
            <pc:sldMk cId="4147735" sldId="2147471219"/>
            <ac:spMk id="34" creationId="{69AA8FEB-781B-5DA9-1FA0-C8A908AFD209}"/>
          </ac:spMkLst>
        </pc:spChg>
        <pc:spChg chg="mod">
          <ac:chgData name="Barnes, Charlie" userId="36117f77-fae6-4fb3-806b-c6a759ac5abb" providerId="ADAL" clId="{A742C20C-F491-48A5-A623-4756A7634A45}" dt="2024-08-02T13:37:13.899" v="602" actId="27636"/>
          <ac:spMkLst>
            <pc:docMk/>
            <pc:sldMk cId="4147735" sldId="2147471219"/>
            <ac:spMk id="36" creationId="{7CD2EF98-B762-E925-29A0-931649D37419}"/>
          </ac:spMkLst>
        </pc:spChg>
        <pc:spChg chg="mod">
          <ac:chgData name="Barnes, Charlie" userId="36117f77-fae6-4fb3-806b-c6a759ac5abb" providerId="ADAL" clId="{A742C20C-F491-48A5-A623-4756A7634A45}" dt="2024-08-02T13:37:13.899" v="602" actId="27636"/>
          <ac:spMkLst>
            <pc:docMk/>
            <pc:sldMk cId="4147735" sldId="2147471219"/>
            <ac:spMk id="37" creationId="{D33F5299-A95E-5A1F-34FE-190B2869533C}"/>
          </ac:spMkLst>
        </pc:spChg>
        <pc:spChg chg="mod">
          <ac:chgData name="Barnes, Charlie" userId="36117f77-fae6-4fb3-806b-c6a759ac5abb" providerId="ADAL" clId="{A742C20C-F491-48A5-A623-4756A7634A45}" dt="2024-08-02T13:37:13.899" v="602" actId="27636"/>
          <ac:spMkLst>
            <pc:docMk/>
            <pc:sldMk cId="4147735" sldId="2147471219"/>
            <ac:spMk id="38" creationId="{42DAC85F-1B05-68FE-3C7B-48D933CA99CA}"/>
          </ac:spMkLst>
        </pc:spChg>
        <pc:spChg chg="mod">
          <ac:chgData name="Barnes, Charlie" userId="36117f77-fae6-4fb3-806b-c6a759ac5abb" providerId="ADAL" clId="{A742C20C-F491-48A5-A623-4756A7634A45}" dt="2024-08-02T13:37:13.899" v="602" actId="27636"/>
          <ac:spMkLst>
            <pc:docMk/>
            <pc:sldMk cId="4147735" sldId="2147471219"/>
            <ac:spMk id="43" creationId="{0E838430-7344-EEAB-3957-71A8BAF9CD8C}"/>
          </ac:spMkLst>
        </pc:spChg>
        <pc:spChg chg="mod">
          <ac:chgData name="Barnes, Charlie" userId="36117f77-fae6-4fb3-806b-c6a759ac5abb" providerId="ADAL" clId="{A742C20C-F491-48A5-A623-4756A7634A45}" dt="2024-08-02T13:37:13.881" v="601" actId="404"/>
          <ac:spMkLst>
            <pc:docMk/>
            <pc:sldMk cId="4147735" sldId="2147471219"/>
            <ac:spMk id="45" creationId="{02AD4CFF-2A21-8389-1399-88DD4CB2E691}"/>
          </ac:spMkLst>
        </pc:spChg>
        <pc:spChg chg="mod">
          <ac:chgData name="Barnes, Charlie" userId="36117f77-fae6-4fb3-806b-c6a759ac5abb" providerId="ADAL" clId="{A742C20C-F491-48A5-A623-4756A7634A45}" dt="2024-08-02T13:37:13.881" v="601" actId="404"/>
          <ac:spMkLst>
            <pc:docMk/>
            <pc:sldMk cId="4147735" sldId="2147471219"/>
            <ac:spMk id="46" creationId="{CBC3698F-87E4-1EE0-05AE-1B2FEF9DAD16}"/>
          </ac:spMkLst>
        </pc:spChg>
        <pc:spChg chg="mod">
          <ac:chgData name="Barnes, Charlie" userId="36117f77-fae6-4fb3-806b-c6a759ac5abb" providerId="ADAL" clId="{A742C20C-F491-48A5-A623-4756A7634A45}" dt="2024-08-02T13:37:13.881" v="601" actId="404"/>
          <ac:spMkLst>
            <pc:docMk/>
            <pc:sldMk cId="4147735" sldId="2147471219"/>
            <ac:spMk id="51" creationId="{DFBB9B44-979D-36EA-56CE-F9EAC31DE32C}"/>
          </ac:spMkLst>
        </pc:spChg>
        <pc:spChg chg="mod">
          <ac:chgData name="Barnes, Charlie" userId="36117f77-fae6-4fb3-806b-c6a759ac5abb" providerId="ADAL" clId="{A742C20C-F491-48A5-A623-4756A7634A45}" dt="2024-08-02T13:37:21.668" v="614" actId="404"/>
          <ac:spMkLst>
            <pc:docMk/>
            <pc:sldMk cId="4147735" sldId="2147471219"/>
            <ac:spMk id="141" creationId="{5E31692E-B895-46C3-B111-3BF04EA87930}"/>
          </ac:spMkLst>
        </pc:spChg>
        <pc:spChg chg="mod">
          <ac:chgData name="Barnes, Charlie" userId="36117f77-fae6-4fb3-806b-c6a759ac5abb" providerId="ADAL" clId="{A742C20C-F491-48A5-A623-4756A7634A45}" dt="2024-08-02T13:37:13.899" v="602" actId="27636"/>
          <ac:spMkLst>
            <pc:docMk/>
            <pc:sldMk cId="4147735" sldId="2147471219"/>
            <ac:spMk id="142" creationId="{A0DA6425-6DC0-6D2B-59A5-F934DFD887F5}"/>
          </ac:spMkLst>
        </pc:spChg>
        <pc:grpChg chg="mod">
          <ac:chgData name="Barnes, Charlie" userId="36117f77-fae6-4fb3-806b-c6a759ac5abb" providerId="ADAL" clId="{A742C20C-F491-48A5-A623-4756A7634A45}" dt="2024-08-02T13:37:13.899" v="602" actId="27636"/>
          <ac:grpSpMkLst>
            <pc:docMk/>
            <pc:sldMk cId="4147735" sldId="2147471219"/>
            <ac:grpSpMk id="27" creationId="{AE0DFF06-921F-3DED-3EBE-73F4EDE57078}"/>
          </ac:grpSpMkLst>
        </pc:grpChg>
        <pc:grpChg chg="mod">
          <ac:chgData name="Barnes, Charlie" userId="36117f77-fae6-4fb3-806b-c6a759ac5abb" providerId="ADAL" clId="{A742C20C-F491-48A5-A623-4756A7634A45}" dt="2024-08-02T13:37:13.899" v="602" actId="27636"/>
          <ac:grpSpMkLst>
            <pc:docMk/>
            <pc:sldMk cId="4147735" sldId="2147471219"/>
            <ac:grpSpMk id="31" creationId="{E8E55D03-E24F-CCAF-7CEA-9BC1CFC21DC1}"/>
          </ac:grpSpMkLst>
        </pc:grpChg>
        <pc:grpChg chg="mod">
          <ac:chgData name="Barnes, Charlie" userId="36117f77-fae6-4fb3-806b-c6a759ac5abb" providerId="ADAL" clId="{A742C20C-F491-48A5-A623-4756A7634A45}" dt="2024-08-02T13:37:13.899" v="602" actId="27636"/>
          <ac:grpSpMkLst>
            <pc:docMk/>
            <pc:sldMk cId="4147735" sldId="2147471219"/>
            <ac:grpSpMk id="39" creationId="{2D85DDC3-7168-8186-6240-5466F67EA0A3}"/>
          </ac:grpSpMkLst>
        </pc:grpChg>
        <pc:grpChg chg="mod">
          <ac:chgData name="Barnes, Charlie" userId="36117f77-fae6-4fb3-806b-c6a759ac5abb" providerId="ADAL" clId="{A742C20C-F491-48A5-A623-4756A7634A45}" dt="2024-08-02T13:37:13.899" v="602" actId="27636"/>
          <ac:grpSpMkLst>
            <pc:docMk/>
            <pc:sldMk cId="4147735" sldId="2147471219"/>
            <ac:grpSpMk id="143" creationId="{277D5CBC-E3C6-A4FE-AD9A-13CFFF2612BA}"/>
          </ac:grpSpMkLst>
        </pc:grpChg>
        <pc:picChg chg="mod">
          <ac:chgData name="Barnes, Charlie" userId="36117f77-fae6-4fb3-806b-c6a759ac5abb" providerId="ADAL" clId="{A742C20C-F491-48A5-A623-4756A7634A45}" dt="2024-08-02T13:37:13.899" v="602" actId="27636"/>
          <ac:picMkLst>
            <pc:docMk/>
            <pc:sldMk cId="4147735" sldId="2147471219"/>
            <ac:picMk id="5" creationId="{2C68414A-868F-2B0F-70FA-1C1EEAF0E805}"/>
          </ac:picMkLst>
        </pc:picChg>
        <pc:picChg chg="mod">
          <ac:chgData name="Barnes, Charlie" userId="36117f77-fae6-4fb3-806b-c6a759ac5abb" providerId="ADAL" clId="{A742C20C-F491-48A5-A623-4756A7634A45}" dt="2024-08-02T13:37:13.899" v="602" actId="27636"/>
          <ac:picMkLst>
            <pc:docMk/>
            <pc:sldMk cId="4147735" sldId="2147471219"/>
            <ac:picMk id="11" creationId="{3B73CDD6-1147-4AC0-146E-15DB9D9656BE}"/>
          </ac:picMkLst>
        </pc:picChg>
        <pc:picChg chg="mod">
          <ac:chgData name="Barnes, Charlie" userId="36117f77-fae6-4fb3-806b-c6a759ac5abb" providerId="ADAL" clId="{A742C20C-F491-48A5-A623-4756A7634A45}" dt="2024-08-02T13:37:13.899" v="602" actId="27636"/>
          <ac:picMkLst>
            <pc:docMk/>
            <pc:sldMk cId="4147735" sldId="2147471219"/>
            <ac:picMk id="17" creationId="{B611BBBE-1120-622C-5296-A082CB55D129}"/>
          </ac:picMkLst>
        </pc:picChg>
        <pc:picChg chg="mod">
          <ac:chgData name="Barnes, Charlie" userId="36117f77-fae6-4fb3-806b-c6a759ac5abb" providerId="ADAL" clId="{A742C20C-F491-48A5-A623-4756A7634A45}" dt="2024-08-02T13:37:13.899" v="602" actId="27636"/>
          <ac:picMkLst>
            <pc:docMk/>
            <pc:sldMk cId="4147735" sldId="2147471219"/>
            <ac:picMk id="26" creationId="{1597EC89-845C-9416-1F49-4A9FF42FCB30}"/>
          </ac:picMkLst>
        </pc:picChg>
      </pc:sldChg>
      <pc:sldChg chg="addSp delSp modSp mod modCm">
        <pc:chgData name="Barnes, Charlie" userId="36117f77-fae6-4fb3-806b-c6a759ac5abb" providerId="ADAL" clId="{A742C20C-F491-48A5-A623-4756A7634A45}" dt="2024-08-02T13:25:37.142" v="340" actId="14100"/>
        <pc:sldMkLst>
          <pc:docMk/>
          <pc:sldMk cId="3043142543" sldId="2147471220"/>
        </pc:sldMkLst>
        <pc:spChg chg="add del mod ord">
          <ac:chgData name="Barnes, Charlie" userId="36117f77-fae6-4fb3-806b-c6a759ac5abb" providerId="ADAL" clId="{A742C20C-F491-48A5-A623-4756A7634A45}" dt="2024-08-02T13:23:08.267" v="256" actId="478"/>
          <ac:spMkLst>
            <pc:docMk/>
            <pc:sldMk cId="3043142543" sldId="2147471220"/>
            <ac:spMk id="2" creationId="{B8919DA1-4151-D74B-EB93-334B1F5FD8F5}"/>
          </ac:spMkLst>
        </pc:spChg>
        <pc:spChg chg="mod">
          <ac:chgData name="Barnes, Charlie" userId="36117f77-fae6-4fb3-806b-c6a759ac5abb" providerId="ADAL" clId="{A742C20C-F491-48A5-A623-4756A7634A45}" dt="2024-08-02T13:20:23.765" v="81" actId="2711"/>
          <ac:spMkLst>
            <pc:docMk/>
            <pc:sldMk cId="3043142543" sldId="2147471220"/>
            <ac:spMk id="5" creationId="{501BF1EC-81B8-FDB2-B883-909EAE15557D}"/>
          </ac:spMkLst>
        </pc:spChg>
        <pc:spChg chg="mod">
          <ac:chgData name="Barnes, Charlie" userId="36117f77-fae6-4fb3-806b-c6a759ac5abb" providerId="ADAL" clId="{A742C20C-F491-48A5-A623-4756A7634A45}" dt="2024-08-02T13:20:23.765" v="81" actId="2711"/>
          <ac:spMkLst>
            <pc:docMk/>
            <pc:sldMk cId="3043142543" sldId="2147471220"/>
            <ac:spMk id="6" creationId="{00000000-0000-0000-0000-000000000000}"/>
          </ac:spMkLst>
        </pc:spChg>
        <pc:spChg chg="mod">
          <ac:chgData name="Barnes, Charlie" userId="36117f77-fae6-4fb3-806b-c6a759ac5abb" providerId="ADAL" clId="{A742C20C-F491-48A5-A623-4756A7634A45}" dt="2024-08-02T13:24:32.675" v="322" actId="113"/>
          <ac:spMkLst>
            <pc:docMk/>
            <pc:sldMk cId="3043142543" sldId="2147471220"/>
            <ac:spMk id="8" creationId="{83C4F330-EEAC-CF88-1C2E-9F04893729FD}"/>
          </ac:spMkLst>
        </pc:spChg>
        <pc:spChg chg="mod">
          <ac:chgData name="Barnes, Charlie" userId="36117f77-fae6-4fb3-806b-c6a759ac5abb" providerId="ADAL" clId="{A742C20C-F491-48A5-A623-4756A7634A45}" dt="2024-08-02T13:20:23.765" v="81" actId="2711"/>
          <ac:spMkLst>
            <pc:docMk/>
            <pc:sldMk cId="3043142543" sldId="2147471220"/>
            <ac:spMk id="29" creationId="{E2B96599-5208-EFE7-3046-F1E156EAE767}"/>
          </ac:spMkLst>
        </pc:spChg>
        <pc:spChg chg="mod">
          <ac:chgData name="Barnes, Charlie" userId="36117f77-fae6-4fb3-806b-c6a759ac5abb" providerId="ADAL" clId="{A742C20C-F491-48A5-A623-4756A7634A45}" dt="2024-08-02T13:20:23.765" v="81" actId="2711"/>
          <ac:spMkLst>
            <pc:docMk/>
            <pc:sldMk cId="3043142543" sldId="2147471220"/>
            <ac:spMk id="30" creationId="{180A1E34-BD41-2AD9-B0EF-64A86E811D0D}"/>
          </ac:spMkLst>
        </pc:spChg>
        <pc:spChg chg="mod">
          <ac:chgData name="Barnes, Charlie" userId="36117f77-fae6-4fb3-806b-c6a759ac5abb" providerId="ADAL" clId="{A742C20C-F491-48A5-A623-4756A7634A45}" dt="2024-08-02T13:20:23.765" v="81" actId="2711"/>
          <ac:spMkLst>
            <pc:docMk/>
            <pc:sldMk cId="3043142543" sldId="2147471220"/>
            <ac:spMk id="31" creationId="{C2AA9D9E-0871-B554-74CB-0978DB424C62}"/>
          </ac:spMkLst>
        </pc:spChg>
        <pc:spChg chg="mod">
          <ac:chgData name="Barnes, Charlie" userId="36117f77-fae6-4fb3-806b-c6a759ac5abb" providerId="ADAL" clId="{A742C20C-F491-48A5-A623-4756A7634A45}" dt="2024-08-02T13:20:23.765" v="81" actId="2711"/>
          <ac:spMkLst>
            <pc:docMk/>
            <pc:sldMk cId="3043142543" sldId="2147471220"/>
            <ac:spMk id="32" creationId="{C89E22D5-26E3-0022-06C0-4003054F61F4}"/>
          </ac:spMkLst>
        </pc:spChg>
        <pc:spChg chg="mod">
          <ac:chgData name="Barnes, Charlie" userId="36117f77-fae6-4fb3-806b-c6a759ac5abb" providerId="ADAL" clId="{A742C20C-F491-48A5-A623-4756A7634A45}" dt="2024-08-02T13:20:23.765" v="81" actId="2711"/>
          <ac:spMkLst>
            <pc:docMk/>
            <pc:sldMk cId="3043142543" sldId="2147471220"/>
            <ac:spMk id="33" creationId="{121C8771-8C16-3CB8-40DA-6DE97DC869D1}"/>
          </ac:spMkLst>
        </pc:spChg>
        <pc:spChg chg="mod">
          <ac:chgData name="Barnes, Charlie" userId="36117f77-fae6-4fb3-806b-c6a759ac5abb" providerId="ADAL" clId="{A742C20C-F491-48A5-A623-4756A7634A45}" dt="2024-08-02T13:20:23.765" v="81" actId="2711"/>
          <ac:spMkLst>
            <pc:docMk/>
            <pc:sldMk cId="3043142543" sldId="2147471220"/>
            <ac:spMk id="34" creationId="{8C2DE3ED-3AC7-2001-F265-549174E1F8F0}"/>
          </ac:spMkLst>
        </pc:spChg>
        <pc:spChg chg="mod">
          <ac:chgData name="Barnes, Charlie" userId="36117f77-fae6-4fb3-806b-c6a759ac5abb" providerId="ADAL" clId="{A742C20C-F491-48A5-A623-4756A7634A45}" dt="2024-08-02T13:20:23.765" v="81" actId="2711"/>
          <ac:spMkLst>
            <pc:docMk/>
            <pc:sldMk cId="3043142543" sldId="2147471220"/>
            <ac:spMk id="35" creationId="{3F78B93E-2425-C3C0-C02D-50EA58B20B51}"/>
          </ac:spMkLst>
        </pc:spChg>
        <pc:spChg chg="mod">
          <ac:chgData name="Barnes, Charlie" userId="36117f77-fae6-4fb3-806b-c6a759ac5abb" providerId="ADAL" clId="{A742C20C-F491-48A5-A623-4756A7634A45}" dt="2024-08-02T13:20:23.765" v="81" actId="2711"/>
          <ac:spMkLst>
            <pc:docMk/>
            <pc:sldMk cId="3043142543" sldId="2147471220"/>
            <ac:spMk id="36" creationId="{9DBAAD0D-90DF-A3A9-721F-5FDF427A0E61}"/>
          </ac:spMkLst>
        </pc:spChg>
        <pc:spChg chg="mod">
          <ac:chgData name="Barnes, Charlie" userId="36117f77-fae6-4fb3-806b-c6a759ac5abb" providerId="ADAL" clId="{A742C20C-F491-48A5-A623-4756A7634A45}" dt="2024-08-02T13:20:23.765" v="81" actId="2711"/>
          <ac:spMkLst>
            <pc:docMk/>
            <pc:sldMk cId="3043142543" sldId="2147471220"/>
            <ac:spMk id="37" creationId="{309E9973-CFA0-7F90-6358-CF5B47C3E24F}"/>
          </ac:spMkLst>
        </pc:spChg>
        <pc:spChg chg="mod">
          <ac:chgData name="Barnes, Charlie" userId="36117f77-fae6-4fb3-806b-c6a759ac5abb" providerId="ADAL" clId="{A742C20C-F491-48A5-A623-4756A7634A45}" dt="2024-08-02T13:20:23.765" v="81" actId="2711"/>
          <ac:spMkLst>
            <pc:docMk/>
            <pc:sldMk cId="3043142543" sldId="2147471220"/>
            <ac:spMk id="38" creationId="{DDC6065A-316A-D1DC-8F1B-9835CE2A841B}"/>
          </ac:spMkLst>
        </pc:spChg>
        <pc:spChg chg="mod">
          <ac:chgData name="Barnes, Charlie" userId="36117f77-fae6-4fb3-806b-c6a759ac5abb" providerId="ADAL" clId="{A742C20C-F491-48A5-A623-4756A7634A45}" dt="2024-08-02T13:20:23.765" v="81" actId="2711"/>
          <ac:spMkLst>
            <pc:docMk/>
            <pc:sldMk cId="3043142543" sldId="2147471220"/>
            <ac:spMk id="39" creationId="{DD600011-29DA-022F-44A6-A70CAEAF82F3}"/>
          </ac:spMkLst>
        </pc:spChg>
        <pc:spChg chg="mod">
          <ac:chgData name="Barnes, Charlie" userId="36117f77-fae6-4fb3-806b-c6a759ac5abb" providerId="ADAL" clId="{A742C20C-F491-48A5-A623-4756A7634A45}" dt="2024-08-02T13:20:23.765" v="81" actId="2711"/>
          <ac:spMkLst>
            <pc:docMk/>
            <pc:sldMk cId="3043142543" sldId="2147471220"/>
            <ac:spMk id="40" creationId="{9EB8FBE8-6122-2ABB-BF83-1608FA6F2CC1}"/>
          </ac:spMkLst>
        </pc:spChg>
        <pc:spChg chg="mod">
          <ac:chgData name="Barnes, Charlie" userId="36117f77-fae6-4fb3-806b-c6a759ac5abb" providerId="ADAL" clId="{A742C20C-F491-48A5-A623-4756A7634A45}" dt="2024-08-02T13:20:23.765" v="81" actId="2711"/>
          <ac:spMkLst>
            <pc:docMk/>
            <pc:sldMk cId="3043142543" sldId="2147471220"/>
            <ac:spMk id="41" creationId="{9A8F836C-1B8E-F725-3EA3-E1CAD4142BE4}"/>
          </ac:spMkLst>
        </pc:spChg>
        <pc:spChg chg="mod">
          <ac:chgData name="Barnes, Charlie" userId="36117f77-fae6-4fb3-806b-c6a759ac5abb" providerId="ADAL" clId="{A742C20C-F491-48A5-A623-4756A7634A45}" dt="2024-08-02T13:20:23.765" v="81" actId="2711"/>
          <ac:spMkLst>
            <pc:docMk/>
            <pc:sldMk cId="3043142543" sldId="2147471220"/>
            <ac:spMk id="42" creationId="{C9E02F0E-1722-B9C6-ACF9-C457E4DEDAA5}"/>
          </ac:spMkLst>
        </pc:spChg>
        <pc:spChg chg="mod">
          <ac:chgData name="Barnes, Charlie" userId="36117f77-fae6-4fb3-806b-c6a759ac5abb" providerId="ADAL" clId="{A742C20C-F491-48A5-A623-4756A7634A45}" dt="2024-08-02T13:20:23.765" v="81" actId="2711"/>
          <ac:spMkLst>
            <pc:docMk/>
            <pc:sldMk cId="3043142543" sldId="2147471220"/>
            <ac:spMk id="43" creationId="{A0BF4923-FC0B-88E4-BEA0-ECA408C241D1}"/>
          </ac:spMkLst>
        </pc:spChg>
        <pc:spChg chg="mod">
          <ac:chgData name="Barnes, Charlie" userId="36117f77-fae6-4fb3-806b-c6a759ac5abb" providerId="ADAL" clId="{A742C20C-F491-48A5-A623-4756A7634A45}" dt="2024-08-02T13:25:07.339" v="333" actId="1035"/>
          <ac:spMkLst>
            <pc:docMk/>
            <pc:sldMk cId="3043142543" sldId="2147471220"/>
            <ac:spMk id="46" creationId="{630B6870-C98F-BBE7-B299-B7672755A59A}"/>
          </ac:spMkLst>
        </pc:spChg>
        <pc:spChg chg="mod">
          <ac:chgData name="Barnes, Charlie" userId="36117f77-fae6-4fb3-806b-c6a759ac5abb" providerId="ADAL" clId="{A742C20C-F491-48A5-A623-4756A7634A45}" dt="2024-08-02T13:20:23.765" v="81" actId="2711"/>
          <ac:spMkLst>
            <pc:docMk/>
            <pc:sldMk cId="3043142543" sldId="2147471220"/>
            <ac:spMk id="47" creationId="{6291B94B-02C9-0C3E-6F6C-B5770CEA42EC}"/>
          </ac:spMkLst>
        </pc:spChg>
        <pc:spChg chg="mod">
          <ac:chgData name="Barnes, Charlie" userId="36117f77-fae6-4fb3-806b-c6a759ac5abb" providerId="ADAL" clId="{A742C20C-F491-48A5-A623-4756A7634A45}" dt="2024-08-02T13:20:23.765" v="81" actId="2711"/>
          <ac:spMkLst>
            <pc:docMk/>
            <pc:sldMk cId="3043142543" sldId="2147471220"/>
            <ac:spMk id="48" creationId="{5D416D69-CF79-8A82-D9A8-E6E8B6BA7701}"/>
          </ac:spMkLst>
        </pc:spChg>
        <pc:spChg chg="mod">
          <ac:chgData name="Barnes, Charlie" userId="36117f77-fae6-4fb3-806b-c6a759ac5abb" providerId="ADAL" clId="{A742C20C-F491-48A5-A623-4756A7634A45}" dt="2024-08-02T13:20:23.765" v="81" actId="2711"/>
          <ac:spMkLst>
            <pc:docMk/>
            <pc:sldMk cId="3043142543" sldId="2147471220"/>
            <ac:spMk id="50" creationId="{DCBF2D35-2BE3-D125-9627-45171BD99D6F}"/>
          </ac:spMkLst>
        </pc:spChg>
        <pc:spChg chg="mod">
          <ac:chgData name="Barnes, Charlie" userId="36117f77-fae6-4fb3-806b-c6a759ac5abb" providerId="ADAL" clId="{A742C20C-F491-48A5-A623-4756A7634A45}" dt="2024-08-02T13:20:23.765" v="81" actId="2711"/>
          <ac:spMkLst>
            <pc:docMk/>
            <pc:sldMk cId="3043142543" sldId="2147471220"/>
            <ac:spMk id="52" creationId="{41A7509C-4B44-D58F-B364-C313343BFB1D}"/>
          </ac:spMkLst>
        </pc:spChg>
        <pc:spChg chg="mod">
          <ac:chgData name="Barnes, Charlie" userId="36117f77-fae6-4fb3-806b-c6a759ac5abb" providerId="ADAL" clId="{A742C20C-F491-48A5-A623-4756A7634A45}" dt="2024-08-02T13:20:23.765" v="81" actId="2711"/>
          <ac:spMkLst>
            <pc:docMk/>
            <pc:sldMk cId="3043142543" sldId="2147471220"/>
            <ac:spMk id="53" creationId="{E8B8296E-314A-9355-2024-9D6552F28A85}"/>
          </ac:spMkLst>
        </pc:spChg>
        <pc:spChg chg="mod">
          <ac:chgData name="Barnes, Charlie" userId="36117f77-fae6-4fb3-806b-c6a759ac5abb" providerId="ADAL" clId="{A742C20C-F491-48A5-A623-4756A7634A45}" dt="2024-08-02T13:20:23.765" v="81" actId="2711"/>
          <ac:spMkLst>
            <pc:docMk/>
            <pc:sldMk cId="3043142543" sldId="2147471220"/>
            <ac:spMk id="54" creationId="{110A3B90-F886-D2FA-70CF-01C428E666EE}"/>
          </ac:spMkLst>
        </pc:spChg>
        <pc:spChg chg="mod">
          <ac:chgData name="Barnes, Charlie" userId="36117f77-fae6-4fb3-806b-c6a759ac5abb" providerId="ADAL" clId="{A742C20C-F491-48A5-A623-4756A7634A45}" dt="2024-08-02T13:20:23.765" v="81" actId="2711"/>
          <ac:spMkLst>
            <pc:docMk/>
            <pc:sldMk cId="3043142543" sldId="2147471220"/>
            <ac:spMk id="55" creationId="{FF0FA47E-2818-5413-6569-860BB97FEAEC}"/>
          </ac:spMkLst>
        </pc:spChg>
        <pc:spChg chg="mod">
          <ac:chgData name="Barnes, Charlie" userId="36117f77-fae6-4fb3-806b-c6a759ac5abb" providerId="ADAL" clId="{A742C20C-F491-48A5-A623-4756A7634A45}" dt="2024-08-02T13:20:23.765" v="81" actId="2711"/>
          <ac:spMkLst>
            <pc:docMk/>
            <pc:sldMk cId="3043142543" sldId="2147471220"/>
            <ac:spMk id="56" creationId="{3573E186-6DFC-F518-4F62-D6C1BA582B7E}"/>
          </ac:spMkLst>
        </pc:spChg>
        <pc:spChg chg="mod">
          <ac:chgData name="Barnes, Charlie" userId="36117f77-fae6-4fb3-806b-c6a759ac5abb" providerId="ADAL" clId="{A742C20C-F491-48A5-A623-4756A7634A45}" dt="2024-08-02T13:20:23.765" v="81" actId="2711"/>
          <ac:spMkLst>
            <pc:docMk/>
            <pc:sldMk cId="3043142543" sldId="2147471220"/>
            <ac:spMk id="57" creationId="{BE6BAD9C-4413-1781-2345-E3B24FFD1751}"/>
          </ac:spMkLst>
        </pc:spChg>
        <pc:spChg chg="mod">
          <ac:chgData name="Barnes, Charlie" userId="36117f77-fae6-4fb3-806b-c6a759ac5abb" providerId="ADAL" clId="{A742C20C-F491-48A5-A623-4756A7634A45}" dt="2024-08-02T13:20:23.765" v="81" actId="2711"/>
          <ac:spMkLst>
            <pc:docMk/>
            <pc:sldMk cId="3043142543" sldId="2147471220"/>
            <ac:spMk id="58" creationId="{F551EA11-69BC-BA85-A625-12548363BD5A}"/>
          </ac:spMkLst>
        </pc:spChg>
        <pc:spChg chg="mod">
          <ac:chgData name="Barnes, Charlie" userId="36117f77-fae6-4fb3-806b-c6a759ac5abb" providerId="ADAL" clId="{A742C20C-F491-48A5-A623-4756A7634A45}" dt="2024-08-02T13:20:23.765" v="81" actId="2711"/>
          <ac:spMkLst>
            <pc:docMk/>
            <pc:sldMk cId="3043142543" sldId="2147471220"/>
            <ac:spMk id="59" creationId="{1B4895DE-57C8-60EE-2EC4-37D4DAA76A86}"/>
          </ac:spMkLst>
        </pc:spChg>
        <pc:spChg chg="mod">
          <ac:chgData name="Barnes, Charlie" userId="36117f77-fae6-4fb3-806b-c6a759ac5abb" providerId="ADAL" clId="{A742C20C-F491-48A5-A623-4756A7634A45}" dt="2024-08-02T13:20:23.765" v="81" actId="2711"/>
          <ac:spMkLst>
            <pc:docMk/>
            <pc:sldMk cId="3043142543" sldId="2147471220"/>
            <ac:spMk id="60" creationId="{33C37098-C4F2-198E-02C6-EF657DE68FD9}"/>
          </ac:spMkLst>
        </pc:spChg>
        <pc:spChg chg="mod">
          <ac:chgData name="Barnes, Charlie" userId="36117f77-fae6-4fb3-806b-c6a759ac5abb" providerId="ADAL" clId="{A742C20C-F491-48A5-A623-4756A7634A45}" dt="2024-08-02T13:23:12.391" v="257" actId="255"/>
          <ac:spMkLst>
            <pc:docMk/>
            <pc:sldMk cId="3043142543" sldId="2147471220"/>
            <ac:spMk id="200" creationId="{D75EB93E-6DB9-42CC-A5D2-C39F630EFBF0}"/>
          </ac:spMkLst>
        </pc:spChg>
        <pc:spChg chg="mod">
          <ac:chgData name="Barnes, Charlie" userId="36117f77-fae6-4fb3-806b-c6a759ac5abb" providerId="ADAL" clId="{A742C20C-F491-48A5-A623-4756A7634A45}" dt="2024-08-02T13:25:32.455" v="339" actId="14100"/>
          <ac:spMkLst>
            <pc:docMk/>
            <pc:sldMk cId="3043142543" sldId="2147471220"/>
            <ac:spMk id="201" creationId="{A8699C89-5A39-47C1-B8D9-FD7D43ED1FD1}"/>
          </ac:spMkLst>
        </pc:spChg>
        <pc:spChg chg="mod">
          <ac:chgData name="Barnes, Charlie" userId="36117f77-fae6-4fb3-806b-c6a759ac5abb" providerId="ADAL" clId="{A742C20C-F491-48A5-A623-4756A7634A45}" dt="2024-08-02T13:25:07.339" v="333" actId="1035"/>
          <ac:spMkLst>
            <pc:docMk/>
            <pc:sldMk cId="3043142543" sldId="2147471220"/>
            <ac:spMk id="202" creationId="{5B71A82D-1954-49DF-9DB0-3BB7C4314075}"/>
          </ac:spMkLst>
        </pc:spChg>
        <pc:spChg chg="mod">
          <ac:chgData name="Barnes, Charlie" userId="36117f77-fae6-4fb3-806b-c6a759ac5abb" providerId="ADAL" clId="{A742C20C-F491-48A5-A623-4756A7634A45}" dt="2024-08-02T13:25:07.339" v="333" actId="1035"/>
          <ac:spMkLst>
            <pc:docMk/>
            <pc:sldMk cId="3043142543" sldId="2147471220"/>
            <ac:spMk id="203" creationId="{BAA7081F-2014-4705-BB40-22201F58BC57}"/>
          </ac:spMkLst>
        </pc:spChg>
        <pc:spChg chg="mod">
          <ac:chgData name="Barnes, Charlie" userId="36117f77-fae6-4fb3-806b-c6a759ac5abb" providerId="ADAL" clId="{A742C20C-F491-48A5-A623-4756A7634A45}" dt="2024-08-02T13:20:23.765" v="81" actId="2711"/>
          <ac:spMkLst>
            <pc:docMk/>
            <pc:sldMk cId="3043142543" sldId="2147471220"/>
            <ac:spMk id="204" creationId="{0F294D7A-F48D-4E90-89DE-6F16872F5502}"/>
          </ac:spMkLst>
        </pc:spChg>
        <pc:spChg chg="mod ord">
          <ac:chgData name="Barnes, Charlie" userId="36117f77-fae6-4fb3-806b-c6a759ac5abb" providerId="ADAL" clId="{A742C20C-F491-48A5-A623-4756A7634A45}" dt="2024-08-02T13:25:37.142" v="340" actId="14100"/>
          <ac:spMkLst>
            <pc:docMk/>
            <pc:sldMk cId="3043142543" sldId="2147471220"/>
            <ac:spMk id="205" creationId="{5BB894FF-F626-4D25-AE37-21FC874DD5D9}"/>
          </ac:spMkLst>
        </pc:spChg>
        <pc:spChg chg="mod">
          <ac:chgData name="Barnes, Charlie" userId="36117f77-fae6-4fb3-806b-c6a759ac5abb" providerId="ADAL" clId="{A742C20C-F491-48A5-A623-4756A7634A45}" dt="2024-08-02T13:25:07.339" v="333" actId="1035"/>
          <ac:spMkLst>
            <pc:docMk/>
            <pc:sldMk cId="3043142543" sldId="2147471220"/>
            <ac:spMk id="206" creationId="{B88828EE-9D82-4F45-B037-712AD16F92E6}"/>
          </ac:spMkLst>
        </pc:spChg>
        <pc:spChg chg="mod">
          <ac:chgData name="Barnes, Charlie" userId="36117f77-fae6-4fb3-806b-c6a759ac5abb" providerId="ADAL" clId="{A742C20C-F491-48A5-A623-4756A7634A45}" dt="2024-08-02T13:25:07.339" v="333" actId="1035"/>
          <ac:spMkLst>
            <pc:docMk/>
            <pc:sldMk cId="3043142543" sldId="2147471220"/>
            <ac:spMk id="207" creationId="{92D013B1-C65B-46B5-B7AC-FEF48BE162A6}"/>
          </ac:spMkLst>
        </pc:spChg>
        <pc:spChg chg="mod">
          <ac:chgData name="Barnes, Charlie" userId="36117f77-fae6-4fb3-806b-c6a759ac5abb" providerId="ADAL" clId="{A742C20C-F491-48A5-A623-4756A7634A45}" dt="2024-08-02T13:25:07.339" v="333" actId="1035"/>
          <ac:spMkLst>
            <pc:docMk/>
            <pc:sldMk cId="3043142543" sldId="2147471220"/>
            <ac:spMk id="212" creationId="{0E3DA78E-1DEC-4C27-B4DF-C17C7E892804}"/>
          </ac:spMkLst>
        </pc:spChg>
        <pc:spChg chg="mod">
          <ac:chgData name="Barnes, Charlie" userId="36117f77-fae6-4fb3-806b-c6a759ac5abb" providerId="ADAL" clId="{A742C20C-F491-48A5-A623-4756A7634A45}" dt="2024-08-02T13:25:07.339" v="333" actId="1035"/>
          <ac:spMkLst>
            <pc:docMk/>
            <pc:sldMk cId="3043142543" sldId="2147471220"/>
            <ac:spMk id="213" creationId="{8832CD77-E462-469E-8DA7-FC9481B49109}"/>
          </ac:spMkLst>
        </pc:spChg>
        <pc:spChg chg="mod">
          <ac:chgData name="Barnes, Charlie" userId="36117f77-fae6-4fb3-806b-c6a759ac5abb" providerId="ADAL" clId="{A742C20C-F491-48A5-A623-4756A7634A45}" dt="2024-08-02T13:25:07.339" v="333" actId="1035"/>
          <ac:spMkLst>
            <pc:docMk/>
            <pc:sldMk cId="3043142543" sldId="2147471220"/>
            <ac:spMk id="214" creationId="{3832D483-3A0A-4A5C-895B-9317914B6D48}"/>
          </ac:spMkLst>
        </pc:spChg>
        <pc:spChg chg="mod">
          <ac:chgData name="Barnes, Charlie" userId="36117f77-fae6-4fb3-806b-c6a759ac5abb" providerId="ADAL" clId="{A742C20C-F491-48A5-A623-4756A7634A45}" dt="2024-08-02T13:20:23.765" v="81" actId="2711"/>
          <ac:spMkLst>
            <pc:docMk/>
            <pc:sldMk cId="3043142543" sldId="2147471220"/>
            <ac:spMk id="215" creationId="{5DD9D51F-C10B-4DB0-942C-C5EFB59B6DD7}"/>
          </ac:spMkLst>
        </pc:spChg>
        <pc:spChg chg="mod">
          <ac:chgData name="Barnes, Charlie" userId="36117f77-fae6-4fb3-806b-c6a759ac5abb" providerId="ADAL" clId="{A742C20C-F491-48A5-A623-4756A7634A45}" dt="2024-08-02T13:20:23.765" v="81" actId="2711"/>
          <ac:spMkLst>
            <pc:docMk/>
            <pc:sldMk cId="3043142543" sldId="2147471220"/>
            <ac:spMk id="310" creationId="{E83202AF-CE95-4508-B579-769378D0247D}"/>
          </ac:spMkLst>
        </pc:spChg>
        <pc:spChg chg="mod">
          <ac:chgData name="Barnes, Charlie" userId="36117f77-fae6-4fb3-806b-c6a759ac5abb" providerId="ADAL" clId="{A742C20C-F491-48A5-A623-4756A7634A45}" dt="2024-08-02T13:20:23.765" v="81" actId="2711"/>
          <ac:spMkLst>
            <pc:docMk/>
            <pc:sldMk cId="3043142543" sldId="2147471220"/>
            <ac:spMk id="311" creationId="{3EBE18FD-029A-497A-937C-41151139F7B0}"/>
          </ac:spMkLst>
        </pc:spChg>
        <pc:grpChg chg="mod">
          <ac:chgData name="Barnes, Charlie" userId="36117f77-fae6-4fb3-806b-c6a759ac5abb" providerId="ADAL" clId="{A742C20C-F491-48A5-A623-4756A7634A45}" dt="2024-08-02T13:25:07.339" v="333" actId="1035"/>
          <ac:grpSpMkLst>
            <pc:docMk/>
            <pc:sldMk cId="3043142543" sldId="2147471220"/>
            <ac:grpSpMk id="28" creationId="{B782190F-0C4D-6FD2-B8EB-B0D22F8FDDF2}"/>
          </ac:grpSpMkLst>
        </pc:grpChg>
        <pc:grpChg chg="mod">
          <ac:chgData name="Barnes, Charlie" userId="36117f77-fae6-4fb3-806b-c6a759ac5abb" providerId="ADAL" clId="{A742C20C-F491-48A5-A623-4756A7634A45}" dt="2024-08-02T13:25:07.339" v="333" actId="1035"/>
          <ac:grpSpMkLst>
            <pc:docMk/>
            <pc:sldMk cId="3043142543" sldId="2147471220"/>
            <ac:grpSpMk id="45" creationId="{399A338F-D523-8B08-EACB-5C503B956039}"/>
          </ac:grpSpMkLst>
        </pc:grpChg>
        <pc:grpChg chg="mod">
          <ac:chgData name="Barnes, Charlie" userId="36117f77-fae6-4fb3-806b-c6a759ac5abb" providerId="ADAL" clId="{A742C20C-F491-48A5-A623-4756A7634A45}" dt="2024-08-02T13:25:07.339" v="333" actId="1035"/>
          <ac:grpSpMkLst>
            <pc:docMk/>
            <pc:sldMk cId="3043142543" sldId="2147471220"/>
            <ac:grpSpMk id="49" creationId="{91F80108-01D6-751B-9678-4653EC3FD1C3}"/>
          </ac:grpSpMkLst>
        </pc:grp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24:24.168" v="320"/>
              <pc2:cmMkLst xmlns:pc2="http://schemas.microsoft.com/office/powerpoint/2019/9/main/command">
                <pc:docMk/>
                <pc:sldMk cId="3043142543" sldId="2147471220"/>
                <pc2:cmMk id="{2A302D27-CC73-4C53-883A-E935A7AF7C48}"/>
              </pc2:cmMkLst>
              <pc226:cmRplyChg chg="add">
                <pc226:chgData name="Barnes, Charlie" userId="36117f77-fae6-4fb3-806b-c6a759ac5abb" providerId="ADAL" clId="{A742C20C-F491-48A5-A623-4756A7634A45}" dt="2024-08-02T13:24:24.168" v="320"/>
                <pc2:cmRplyMkLst xmlns:pc2="http://schemas.microsoft.com/office/powerpoint/2019/9/main/command">
                  <pc:docMk/>
                  <pc:sldMk cId="3043142543" sldId="2147471220"/>
                  <pc2:cmMk id="{2A302D27-CC73-4C53-883A-E935A7AF7C48}"/>
                  <pc2:cmRplyMk id="{1525861E-C806-43A7-854F-22580D79E62A}"/>
                </pc2:cmRplyMkLst>
              </pc226:cmRplyChg>
            </pc226:cmChg>
            <pc226:cmChg xmlns:pc226="http://schemas.microsoft.com/office/powerpoint/2022/06/main/command" chg="mod">
              <pc226:chgData name="Barnes, Charlie" userId="36117f77-fae6-4fb3-806b-c6a759ac5abb" providerId="ADAL" clId="{A742C20C-F491-48A5-A623-4756A7634A45}" dt="2024-08-02T13:21:55.740" v="206"/>
              <pc2:cmMkLst xmlns:pc2="http://schemas.microsoft.com/office/powerpoint/2019/9/main/command">
                <pc:docMk/>
                <pc:sldMk cId="3043142543" sldId="2147471220"/>
                <pc2:cmMk id="{9141A548-F991-41EF-9AF3-87E4D2F2B379}"/>
              </pc2:cmMkLst>
              <pc226:cmRplyChg chg="add">
                <pc226:chgData name="Barnes, Charlie" userId="36117f77-fae6-4fb3-806b-c6a759ac5abb" providerId="ADAL" clId="{A742C20C-F491-48A5-A623-4756A7634A45}" dt="2024-08-02T13:21:55.740" v="206"/>
                <pc2:cmRplyMkLst xmlns:pc2="http://schemas.microsoft.com/office/powerpoint/2019/9/main/command">
                  <pc:docMk/>
                  <pc:sldMk cId="3043142543" sldId="2147471220"/>
                  <pc2:cmMk id="{9141A548-F991-41EF-9AF3-87E4D2F2B379}"/>
                  <pc2:cmRplyMk id="{7D530488-3EFE-4A2C-9881-8525EE74D83A}"/>
                </pc2:cmRplyMkLst>
              </pc226:cmRplyChg>
            </pc226:cmChg>
            <pc226:cmChg xmlns:pc226="http://schemas.microsoft.com/office/powerpoint/2022/06/main/command" chg="mod">
              <pc226:chgData name="Barnes, Charlie" userId="36117f77-fae6-4fb3-806b-c6a759ac5abb" providerId="ADAL" clId="{A742C20C-F491-48A5-A623-4756A7634A45}" dt="2024-08-02T13:24:29.022" v="321"/>
              <pc2:cmMkLst xmlns:pc2="http://schemas.microsoft.com/office/powerpoint/2019/9/main/command">
                <pc:docMk/>
                <pc:sldMk cId="3043142543" sldId="2147471220"/>
                <pc2:cmMk id="{01D85A5E-A5AE-47BF-B9B0-6304B6E12853}"/>
              </pc2:cmMkLst>
              <pc226:cmRplyChg chg="add">
                <pc226:chgData name="Barnes, Charlie" userId="36117f77-fae6-4fb3-806b-c6a759ac5abb" providerId="ADAL" clId="{A742C20C-F491-48A5-A623-4756A7634A45}" dt="2024-08-02T13:24:29.022" v="321"/>
                <pc2:cmRplyMkLst xmlns:pc2="http://schemas.microsoft.com/office/powerpoint/2019/9/main/command">
                  <pc:docMk/>
                  <pc:sldMk cId="3043142543" sldId="2147471220"/>
                  <pc2:cmMk id="{01D85A5E-A5AE-47BF-B9B0-6304B6E12853}"/>
                  <pc2:cmRplyMk id="{4865920A-5397-4CE4-85F0-D91AA14BE8EC}"/>
                </pc2:cmRplyMkLst>
              </pc226:cmRplyChg>
            </pc226:cmChg>
            <pc226:cmChg xmlns:pc226="http://schemas.microsoft.com/office/powerpoint/2022/06/main/command" chg="mod">
              <pc226:chgData name="Barnes, Charlie" userId="36117f77-fae6-4fb3-806b-c6a759ac5abb" providerId="ADAL" clId="{A742C20C-F491-48A5-A623-4756A7634A45}" dt="2024-08-02T13:22:09.379" v="209"/>
              <pc2:cmMkLst xmlns:pc2="http://schemas.microsoft.com/office/powerpoint/2019/9/main/command">
                <pc:docMk/>
                <pc:sldMk cId="3043142543" sldId="2147471220"/>
                <pc2:cmMk id="{7C794663-77A4-4D67-A72E-6DC65303FA9F}"/>
              </pc2:cmMkLst>
              <pc226:cmRplyChg chg="add">
                <pc226:chgData name="Barnes, Charlie" userId="36117f77-fae6-4fb3-806b-c6a759ac5abb" providerId="ADAL" clId="{A742C20C-F491-48A5-A623-4756A7634A45}" dt="2024-08-02T13:22:09.379" v="209"/>
                <pc2:cmRplyMkLst xmlns:pc2="http://schemas.microsoft.com/office/powerpoint/2019/9/main/command">
                  <pc:docMk/>
                  <pc:sldMk cId="3043142543" sldId="2147471220"/>
                  <pc2:cmMk id="{7C794663-77A4-4D67-A72E-6DC65303FA9F}"/>
                  <pc2:cmRplyMk id="{3AC2C898-FCF8-493D-AAB0-D498CC75399F}"/>
                </pc2:cmRplyMkLst>
              </pc226:cmRplyChg>
            </pc226:cmChg>
            <pc226:cmChg xmlns:pc226="http://schemas.microsoft.com/office/powerpoint/2022/06/main/command" chg="mod">
              <pc226:chgData name="Barnes, Charlie" userId="36117f77-fae6-4fb3-806b-c6a759ac5abb" providerId="ADAL" clId="{A742C20C-F491-48A5-A623-4756A7634A45}" dt="2024-08-02T13:24:19.841" v="319" actId="20577"/>
              <pc2:cmMkLst xmlns:pc2="http://schemas.microsoft.com/office/powerpoint/2019/9/main/command">
                <pc:docMk/>
                <pc:sldMk cId="3043142543" sldId="2147471220"/>
                <pc2:cmMk id="{75693673-56E3-4ECC-A44A-B56524B98DD5}"/>
              </pc2:cmMkLst>
              <pc226:cmRplyChg chg="add">
                <pc226:chgData name="Barnes, Charlie" userId="36117f77-fae6-4fb3-806b-c6a759ac5abb" providerId="ADAL" clId="{A742C20C-F491-48A5-A623-4756A7634A45}" dt="2024-08-02T13:22:05.441" v="208"/>
                <pc2:cmRplyMkLst xmlns:pc2="http://schemas.microsoft.com/office/powerpoint/2019/9/main/command">
                  <pc:docMk/>
                  <pc:sldMk cId="3043142543" sldId="2147471220"/>
                  <pc2:cmMk id="{75693673-56E3-4ECC-A44A-B56524B98DD5}"/>
                  <pc2:cmRplyMk id="{82831F6E-8DB7-49FE-BBCD-8121AC45E2BE}"/>
                </pc2:cmRplyMkLst>
              </pc226:cmRplyChg>
            </pc226:cmChg>
            <pc226:cmChg xmlns:pc226="http://schemas.microsoft.com/office/powerpoint/2022/06/main/command" chg="mod">
              <pc226:chgData name="Barnes, Charlie" userId="36117f77-fae6-4fb3-806b-c6a759ac5abb" providerId="ADAL" clId="{A742C20C-F491-48A5-A623-4756A7634A45}" dt="2024-08-02T13:22:00.391" v="207"/>
              <pc2:cmMkLst xmlns:pc2="http://schemas.microsoft.com/office/powerpoint/2019/9/main/command">
                <pc:docMk/>
                <pc:sldMk cId="3043142543" sldId="2147471220"/>
                <pc2:cmMk id="{997E7AAA-D20B-40C3-853D-8967A1A14411}"/>
              </pc2:cmMkLst>
              <pc226:cmRplyChg chg="add">
                <pc226:chgData name="Barnes, Charlie" userId="36117f77-fae6-4fb3-806b-c6a759ac5abb" providerId="ADAL" clId="{A742C20C-F491-48A5-A623-4756A7634A45}" dt="2024-08-02T13:22:00.391" v="207"/>
                <pc2:cmRplyMkLst xmlns:pc2="http://schemas.microsoft.com/office/powerpoint/2019/9/main/command">
                  <pc:docMk/>
                  <pc:sldMk cId="3043142543" sldId="2147471220"/>
                  <pc2:cmMk id="{997E7AAA-D20B-40C3-853D-8967A1A14411}"/>
                  <pc2:cmRplyMk id="{9B80A76D-E24D-4E1E-8D3C-9A7FCAF5447D}"/>
                </pc2:cmRplyMkLst>
              </pc226:cmRplyChg>
            </pc226:cmChg>
            <pc226:cmChg xmlns:pc226="http://schemas.microsoft.com/office/powerpoint/2022/06/main/command" chg="mod">
              <pc226:chgData name="Barnes, Charlie" userId="36117f77-fae6-4fb3-806b-c6a759ac5abb" providerId="ADAL" clId="{A742C20C-F491-48A5-A623-4756A7634A45}" dt="2024-08-02T13:23:31.891" v="262" actId="20577"/>
              <pc2:cmMkLst xmlns:pc2="http://schemas.microsoft.com/office/powerpoint/2019/9/main/command">
                <pc:docMk/>
                <pc:sldMk cId="3043142543" sldId="2147471220"/>
                <pc2:cmMk id="{2A8268CE-5472-4C04-BD15-1E1AE80A00FF}"/>
              </pc2:cmMkLst>
              <pc226:cmRplyChg chg="add">
                <pc226:chgData name="Barnes, Charlie" userId="36117f77-fae6-4fb3-806b-c6a759ac5abb" providerId="ADAL" clId="{A742C20C-F491-48A5-A623-4756A7634A45}" dt="2024-08-02T13:23:22.456" v="259"/>
                <pc2:cmRplyMkLst xmlns:pc2="http://schemas.microsoft.com/office/powerpoint/2019/9/main/command">
                  <pc:docMk/>
                  <pc:sldMk cId="3043142543" sldId="2147471220"/>
                  <pc2:cmMk id="{2A8268CE-5472-4C04-BD15-1E1AE80A00FF}"/>
                  <pc2:cmRplyMk id="{56A3FA1A-FDE5-4599-832F-D29823742F14}"/>
                </pc2:cmRplyMkLst>
              </pc226:cmRplyChg>
            </pc226:cmChg>
          </p:ext>
        </pc:extLst>
      </pc:sldChg>
      <pc:sldChg chg="delSp modSp mod modCm">
        <pc:chgData name="Barnes, Charlie" userId="36117f77-fae6-4fb3-806b-c6a759ac5abb" providerId="ADAL" clId="{A742C20C-F491-48A5-A623-4756A7634A45}" dt="2024-08-02T13:40:22.136" v="838" actId="20577"/>
        <pc:sldMkLst>
          <pc:docMk/>
          <pc:sldMk cId="1950860068" sldId="2147471223"/>
        </pc:sldMkLst>
        <pc:spChg chg="mod">
          <ac:chgData name="Barnes, Charlie" userId="36117f77-fae6-4fb3-806b-c6a759ac5abb" providerId="ADAL" clId="{A742C20C-F491-48A5-A623-4756A7634A45}" dt="2024-08-02T13:39:50.072" v="791" actId="14100"/>
          <ac:spMkLst>
            <pc:docMk/>
            <pc:sldMk cId="1950860068" sldId="2147471223"/>
            <ac:spMk id="2" creationId="{7DFE02E0-1F02-7024-245B-81741A98C55C}"/>
          </ac:spMkLst>
        </pc:spChg>
        <pc:spChg chg="del">
          <ac:chgData name="Barnes, Charlie" userId="36117f77-fae6-4fb3-806b-c6a759ac5abb" providerId="ADAL" clId="{A742C20C-F491-48A5-A623-4756A7634A45}" dt="2024-08-02T13:39:38.292" v="779" actId="478"/>
          <ac:spMkLst>
            <pc:docMk/>
            <pc:sldMk cId="1950860068" sldId="2147471223"/>
            <ac:spMk id="5" creationId="{9D97D18A-A11C-3A8D-3EF3-B46B67902BE7}"/>
          </ac:spMkLst>
        </pc:spChg>
        <pc:spChg chg="mod">
          <ac:chgData name="Barnes, Charlie" userId="36117f77-fae6-4fb3-806b-c6a759ac5abb" providerId="ADAL" clId="{A742C20C-F491-48A5-A623-4756A7634A45}" dt="2024-08-02T13:39:31.952" v="777" actId="20577"/>
          <ac:spMkLst>
            <pc:docMk/>
            <pc:sldMk cId="1950860068" sldId="2147471223"/>
            <ac:spMk id="23" creationId="{133D6B1D-D266-70B6-F6F8-90961DE76B9A}"/>
          </ac:spMkLst>
        </pc:spChg>
        <pc:graphicFrameChg chg="modGraphic">
          <ac:chgData name="Barnes, Charlie" userId="36117f77-fae6-4fb3-806b-c6a759ac5abb" providerId="ADAL" clId="{A742C20C-F491-48A5-A623-4756A7634A45}" dt="2024-08-02T13:40:22.136" v="838" actId="20577"/>
          <ac:graphicFrameMkLst>
            <pc:docMk/>
            <pc:sldMk cId="1950860068" sldId="2147471223"/>
            <ac:graphicFrameMk id="7" creationId="{D3CFEF8D-396B-53BF-61FF-4E8ABE1B7081}"/>
          </ac:graphicFrameMkLst>
        </pc:graphicFrameChg>
        <pc:extLst>
          <p:ext xmlns:p="http://schemas.openxmlformats.org/presentationml/2006/main" uri="{D6D511B9-2390-475A-947B-AFAB55BFBCF1}">
            <pc226:cmChg xmlns:pc226="http://schemas.microsoft.com/office/powerpoint/2022/06/main/command" chg="mod">
              <pc226:chgData name="Barnes, Charlie" userId="36117f77-fae6-4fb3-806b-c6a759ac5abb" providerId="ADAL" clId="{A742C20C-F491-48A5-A623-4756A7634A45}" dt="2024-08-02T13:39:35.485" v="778"/>
              <pc2:cmMkLst xmlns:pc2="http://schemas.microsoft.com/office/powerpoint/2019/9/main/command">
                <pc:docMk/>
                <pc:sldMk cId="1950860068" sldId="2147471223"/>
                <pc2:cmMk id="{EE649D74-96C8-49BA-83E9-6F2125A5FD86}"/>
              </pc2:cmMkLst>
              <pc226:cmRplyChg chg="add">
                <pc226:chgData name="Barnes, Charlie" userId="36117f77-fae6-4fb3-806b-c6a759ac5abb" providerId="ADAL" clId="{A742C20C-F491-48A5-A623-4756A7634A45}" dt="2024-08-02T13:39:35.485" v="778"/>
                <pc2:cmRplyMkLst xmlns:pc2="http://schemas.microsoft.com/office/powerpoint/2019/9/main/command">
                  <pc:docMk/>
                  <pc:sldMk cId="1950860068" sldId="2147471223"/>
                  <pc2:cmMk id="{EE649D74-96C8-49BA-83E9-6F2125A5FD86}"/>
                  <pc2:cmRplyMk id="{386885D1-925B-41F7-A4B5-84AC7EC61C9B}"/>
                </pc2:cmRplyMkLst>
              </pc226:cmRplyChg>
            </pc226:cmChg>
          </p:ext>
        </pc:extLst>
      </pc:sldChg>
      <pc:sldChg chg="modSp add del mod">
        <pc:chgData name="Barnes, Charlie" userId="36117f77-fae6-4fb3-806b-c6a759ac5abb" providerId="ADAL" clId="{A742C20C-F491-48A5-A623-4756A7634A45}" dt="2024-08-02T13:31:12.384" v="466" actId="47"/>
        <pc:sldMkLst>
          <pc:docMk/>
          <pc:sldMk cId="1938817976" sldId="2147471224"/>
        </pc:sldMkLst>
        <pc:spChg chg="mod">
          <ac:chgData name="Barnes, Charlie" userId="36117f77-fae6-4fb3-806b-c6a759ac5abb" providerId="ADAL" clId="{A742C20C-F491-48A5-A623-4756A7634A45}" dt="2024-08-02T13:31:10.580" v="465" actId="6549"/>
          <ac:spMkLst>
            <pc:docMk/>
            <pc:sldMk cId="1938817976" sldId="2147471224"/>
            <ac:spMk id="115" creationId="{D8281BA8-220D-F756-599A-9BD2A074B0A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Work\Current\Distribution\UKPN\FlexDirect%20Discovery\Analysis\CBA\FlexDirect%20-%20CBA%20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Work\Current\Distribution\UKPN\FlexDirect%20Discovery\Analysis\CBA\FlexDirect%20-%20CBA%20v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Work\Current\Distribution\UKPN\FlexDirect%20Discovery\Analysis\CBA\FlexDirect%20-%20CBA%20v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Work\Current\Distribution\UKPN\FlexDirect%20Discovery\Analysis\CBA\FlexDirect%20-%20CBA%20v2.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BA Workings baseline'!$D$109</c:f>
              <c:strCache>
                <c:ptCount val="1"/>
                <c:pt idx="0">
                  <c:v>Counterfactual</c:v>
                </c:pt>
              </c:strCache>
            </c:strRef>
          </c:tx>
          <c:spPr>
            <a:solidFill>
              <a:schemeClr val="accent1"/>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09:$K$109</c:f>
              <c:numCache>
                <c:formatCode>#,##0_ ;[Red]\-#,##0\ </c:formatCode>
                <c:ptCount val="7"/>
                <c:pt idx="0">
                  <c:v>200.13836437964142</c:v>
                </c:pt>
                <c:pt idx="1">
                  <c:v>201.7765332467016</c:v>
                </c:pt>
                <c:pt idx="2">
                  <c:v>460.75557379762921</c:v>
                </c:pt>
                <c:pt idx="3">
                  <c:v>413.10242592586667</c:v>
                </c:pt>
                <c:pt idx="4">
                  <c:v>507.50620975518473</c:v>
                </c:pt>
                <c:pt idx="5">
                  <c:v>436.97713836618811</c:v>
                </c:pt>
                <c:pt idx="6">
                  <c:v>353.51284245716903</c:v>
                </c:pt>
              </c:numCache>
            </c:numRef>
          </c:val>
          <c:extLst>
            <c:ext xmlns:c16="http://schemas.microsoft.com/office/drawing/2014/chart" uri="{C3380CC4-5D6E-409C-BE32-E72D297353CC}">
              <c16:uniqueId val="{00000000-A8D7-4465-9B8E-866A9E666E1D}"/>
            </c:ext>
          </c:extLst>
        </c:ser>
        <c:ser>
          <c:idx val="1"/>
          <c:order val="1"/>
          <c:tx>
            <c:strRef>
              <c:f>'CBA Workings baseline'!$D$110</c:f>
              <c:strCache>
                <c:ptCount val="1"/>
                <c:pt idx="0">
                  <c:v>Flex Direct</c:v>
                </c:pt>
              </c:strCache>
            </c:strRef>
          </c:tx>
          <c:spPr>
            <a:solidFill>
              <a:schemeClr val="accent2"/>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10:$K$110</c:f>
              <c:numCache>
                <c:formatCode>#,##0_ ;[Red]\-#,##0\ </c:formatCode>
                <c:ptCount val="7"/>
                <c:pt idx="0">
                  <c:v>30.329806041602712</c:v>
                </c:pt>
                <c:pt idx="1">
                  <c:v>27.271864804855301</c:v>
                </c:pt>
                <c:pt idx="2">
                  <c:v>161.34026564547543</c:v>
                </c:pt>
                <c:pt idx="3">
                  <c:v>562.37779828164287</c:v>
                </c:pt>
                <c:pt idx="4">
                  <c:v>696.53054856237213</c:v>
                </c:pt>
                <c:pt idx="5">
                  <c:v>607.60696857514597</c:v>
                </c:pt>
                <c:pt idx="6">
                  <c:v>489.12164265519289</c:v>
                </c:pt>
              </c:numCache>
            </c:numRef>
          </c:val>
          <c:extLst>
            <c:ext xmlns:c16="http://schemas.microsoft.com/office/drawing/2014/chart" uri="{C3380CC4-5D6E-409C-BE32-E72D297353CC}">
              <c16:uniqueId val="{00000001-A8D7-4465-9B8E-866A9E666E1D}"/>
            </c:ext>
          </c:extLst>
        </c:ser>
        <c:ser>
          <c:idx val="2"/>
          <c:order val="2"/>
          <c:tx>
            <c:strRef>
              <c:f>'CBA Workings baseline'!$D$111</c:f>
              <c:strCache>
                <c:ptCount val="1"/>
                <c:pt idx="0">
                  <c:v>Savings</c:v>
                </c:pt>
              </c:strCache>
            </c:strRef>
          </c:tx>
          <c:spPr>
            <a:solidFill>
              <a:schemeClr val="accent3"/>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11:$K$111</c:f>
              <c:numCache>
                <c:formatCode>#,##0_ ;[Red]\-#,##0\ </c:formatCode>
                <c:ptCount val="7"/>
                <c:pt idx="0">
                  <c:v>169.80855833803869</c:v>
                </c:pt>
                <c:pt idx="1">
                  <c:v>174.50466844184629</c:v>
                </c:pt>
                <c:pt idx="2">
                  <c:v>299.41530815215378</c:v>
                </c:pt>
                <c:pt idx="3">
                  <c:v>-149.2753723557762</c:v>
                </c:pt>
                <c:pt idx="4">
                  <c:v>-189.02433880718741</c:v>
                </c:pt>
                <c:pt idx="5">
                  <c:v>-170.62983020895786</c:v>
                </c:pt>
                <c:pt idx="6">
                  <c:v>-135.60880019802386</c:v>
                </c:pt>
              </c:numCache>
            </c:numRef>
          </c:val>
          <c:extLst>
            <c:ext xmlns:c16="http://schemas.microsoft.com/office/drawing/2014/chart" uri="{C3380CC4-5D6E-409C-BE32-E72D297353CC}">
              <c16:uniqueId val="{00000002-A8D7-4465-9B8E-866A9E666E1D}"/>
            </c:ext>
          </c:extLst>
        </c:ser>
        <c:dLbls>
          <c:showLegendKey val="0"/>
          <c:showVal val="0"/>
          <c:showCatName val="0"/>
          <c:showSerName val="0"/>
          <c:showPercent val="0"/>
          <c:showBubbleSize val="0"/>
        </c:dLbls>
        <c:gapWidth val="219"/>
        <c:overlap val="-27"/>
        <c:axId val="513649919"/>
        <c:axId val="513647519"/>
      </c:barChart>
      <c:catAx>
        <c:axId val="513649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647519"/>
        <c:crosses val="autoZero"/>
        <c:auto val="1"/>
        <c:lblAlgn val="ctr"/>
        <c:lblOffset val="100"/>
        <c:noMultiLvlLbl val="0"/>
      </c:catAx>
      <c:valAx>
        <c:axId val="513647519"/>
        <c:scaling>
          <c:orientation val="minMax"/>
          <c:max val="700"/>
          <c:min val="-2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inforcement cost (£m)</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_ ;[Red]\-#,##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649919"/>
        <c:crosses val="autoZero"/>
        <c:crossBetween val="between"/>
      </c:valAx>
      <c:spPr>
        <a:noFill/>
        <a:ln>
          <a:noFill/>
        </a:ln>
        <a:effectLst/>
      </c:spPr>
    </c:plotArea>
    <c:legend>
      <c:legendPos val="b"/>
      <c:layout>
        <c:manualLayout>
          <c:xMode val="edge"/>
          <c:yMode val="edge"/>
          <c:x val="0.15000787401574803"/>
          <c:y val="6.0763342082239678E-2"/>
          <c:w val="0.49998425196850393"/>
          <c:h val="7.8125546806649182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numRef>
              <c:f>'CBA Workings baseline'!$E$114:$K$114</c:f>
              <c:numCache>
                <c:formatCode>General</c:formatCode>
                <c:ptCount val="7"/>
                <c:pt idx="0">
                  <c:v>2025</c:v>
                </c:pt>
                <c:pt idx="1">
                  <c:v>2026</c:v>
                </c:pt>
                <c:pt idx="2">
                  <c:v>2027</c:v>
                </c:pt>
                <c:pt idx="3">
                  <c:v>2028</c:v>
                </c:pt>
                <c:pt idx="4">
                  <c:v>2029</c:v>
                </c:pt>
                <c:pt idx="5">
                  <c:v>2030</c:v>
                </c:pt>
                <c:pt idx="6">
                  <c:v>2031</c:v>
                </c:pt>
              </c:numCache>
            </c:numRef>
          </c:cat>
          <c:val>
            <c:numRef>
              <c:f>'CBA Workings baseline'!$E$115:$K$115</c:f>
              <c:numCache>
                <c:formatCode>#,##0_ ;[Red]\-#,##0\ ;\ \-\ </c:formatCode>
                <c:ptCount val="7"/>
                <c:pt idx="0">
                  <c:v>5975.7686420669106</c:v>
                </c:pt>
                <c:pt idx="1">
                  <c:v>6062.2461908986679</c:v>
                </c:pt>
                <c:pt idx="2">
                  <c:v>13160.151858422545</c:v>
                </c:pt>
                <c:pt idx="3">
                  <c:v>-4086.1963952782507</c:v>
                </c:pt>
                <c:pt idx="4">
                  <c:v>-8108.9023714671739</c:v>
                </c:pt>
                <c:pt idx="5">
                  <c:v>-5426.4891386048603</c:v>
                </c:pt>
                <c:pt idx="6">
                  <c:v>-5234.0267696738829</c:v>
                </c:pt>
              </c:numCache>
            </c:numRef>
          </c:val>
          <c:extLst>
            <c:ext xmlns:c16="http://schemas.microsoft.com/office/drawing/2014/chart" uri="{C3380CC4-5D6E-409C-BE32-E72D297353CC}">
              <c16:uniqueId val="{00000000-E51B-42D2-87FE-0DF270A1E669}"/>
            </c:ext>
          </c:extLst>
        </c:ser>
        <c:dLbls>
          <c:showLegendKey val="0"/>
          <c:showVal val="0"/>
          <c:showCatName val="0"/>
          <c:showSerName val="0"/>
          <c:showPercent val="0"/>
          <c:showBubbleSize val="0"/>
        </c:dLbls>
        <c:gapWidth val="219"/>
        <c:overlap val="-27"/>
        <c:axId val="385632015"/>
        <c:axId val="385647855"/>
      </c:barChart>
      <c:catAx>
        <c:axId val="385632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5647855"/>
        <c:crosses val="autoZero"/>
        <c:auto val="1"/>
        <c:lblAlgn val="ctr"/>
        <c:lblOffset val="100"/>
        <c:noMultiLvlLbl val="0"/>
      </c:catAx>
      <c:valAx>
        <c:axId val="38564785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Savings</a:t>
                </a:r>
                <a:r>
                  <a:rPr lang="en-US" baseline="0" dirty="0"/>
                  <a:t> </a:t>
                </a:r>
                <a:r>
                  <a:rPr lang="en-US" dirty="0" err="1"/>
                  <a:t>kton</a:t>
                </a:r>
                <a:r>
                  <a:rPr lang="en-US" dirty="0"/>
                  <a:t> CO2-eq</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_ ;[Red]\-#,##0\ ;\ \-\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563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BA Workings baseline'!$D$122</c:f>
              <c:strCache>
                <c:ptCount val="1"/>
                <c:pt idx="0">
                  <c:v>Counterfactual</c:v>
                </c:pt>
              </c:strCache>
            </c:strRef>
          </c:tx>
          <c:spPr>
            <a:solidFill>
              <a:schemeClr val="accent1"/>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22:$K$122</c:f>
              <c:numCache>
                <c:formatCode>#,##0_ ;[Red]\-#,##0\ </c:formatCode>
                <c:ptCount val="7"/>
                <c:pt idx="0">
                  <c:v>809.50172070937253</c:v>
                </c:pt>
                <c:pt idx="1">
                  <c:v>925.96913123480476</c:v>
                </c:pt>
                <c:pt idx="2">
                  <c:v>1348.2748260088804</c:v>
                </c:pt>
                <c:pt idx="3">
                  <c:v>1407.7101513438179</c:v>
                </c:pt>
                <c:pt idx="4">
                  <c:v>1904.6316837891802</c:v>
                </c:pt>
                <c:pt idx="5">
                  <c:v>1569.9910695040744</c:v>
                </c:pt>
                <c:pt idx="6">
                  <c:v>1353.7699073372505</c:v>
                </c:pt>
              </c:numCache>
            </c:numRef>
          </c:val>
          <c:extLst>
            <c:ext xmlns:c16="http://schemas.microsoft.com/office/drawing/2014/chart" uri="{C3380CC4-5D6E-409C-BE32-E72D297353CC}">
              <c16:uniqueId val="{00000000-E1FA-41EE-BBE7-319D2536144E}"/>
            </c:ext>
          </c:extLst>
        </c:ser>
        <c:ser>
          <c:idx val="1"/>
          <c:order val="1"/>
          <c:tx>
            <c:strRef>
              <c:f>'CBA Workings baseline'!$D$123</c:f>
              <c:strCache>
                <c:ptCount val="1"/>
                <c:pt idx="0">
                  <c:v>Flex Direct</c:v>
                </c:pt>
              </c:strCache>
            </c:strRef>
          </c:tx>
          <c:spPr>
            <a:solidFill>
              <a:schemeClr val="accent2"/>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23:$K$123</c:f>
              <c:numCache>
                <c:formatCode>#,##0_ ;[Red]\-#,##0\ </c:formatCode>
                <c:ptCount val="7"/>
                <c:pt idx="0">
                  <c:v>327.43652209067602</c:v>
                </c:pt>
                <c:pt idx="1">
                  <c:v>196.88420761164221</c:v>
                </c:pt>
                <c:pt idx="2">
                  <c:v>917.54942494237537</c:v>
                </c:pt>
                <c:pt idx="3">
                  <c:v>1693.0360707334653</c:v>
                </c:pt>
                <c:pt idx="4">
                  <c:v>2342.6579068941223</c:v>
                </c:pt>
                <c:pt idx="5">
                  <c:v>2107.8060919843333</c:v>
                </c:pt>
                <c:pt idx="6">
                  <c:v>1735.8091519744969</c:v>
                </c:pt>
              </c:numCache>
            </c:numRef>
          </c:val>
          <c:extLst>
            <c:ext xmlns:c16="http://schemas.microsoft.com/office/drawing/2014/chart" uri="{C3380CC4-5D6E-409C-BE32-E72D297353CC}">
              <c16:uniqueId val="{00000001-E1FA-41EE-BBE7-319D2536144E}"/>
            </c:ext>
          </c:extLst>
        </c:ser>
        <c:ser>
          <c:idx val="2"/>
          <c:order val="2"/>
          <c:tx>
            <c:strRef>
              <c:f>'CBA Workings baseline'!$D$124</c:f>
              <c:strCache>
                <c:ptCount val="1"/>
                <c:pt idx="0">
                  <c:v>Savings</c:v>
                </c:pt>
              </c:strCache>
            </c:strRef>
          </c:tx>
          <c:spPr>
            <a:solidFill>
              <a:schemeClr val="accent3"/>
            </a:solidFill>
            <a:ln>
              <a:noFill/>
            </a:ln>
            <a:effectLst/>
          </c:spPr>
          <c:invertIfNegative val="0"/>
          <c:cat>
            <c:numRef>
              <c:f>'CBA Workings baseline'!$E$108:$K$108</c:f>
              <c:numCache>
                <c:formatCode>General</c:formatCode>
                <c:ptCount val="7"/>
                <c:pt idx="0">
                  <c:v>2025</c:v>
                </c:pt>
                <c:pt idx="1">
                  <c:v>2026</c:v>
                </c:pt>
                <c:pt idx="2">
                  <c:v>2027</c:v>
                </c:pt>
                <c:pt idx="3">
                  <c:v>2028</c:v>
                </c:pt>
                <c:pt idx="4">
                  <c:v>2029</c:v>
                </c:pt>
                <c:pt idx="5">
                  <c:v>2030</c:v>
                </c:pt>
                <c:pt idx="6">
                  <c:v>2031</c:v>
                </c:pt>
              </c:numCache>
            </c:numRef>
          </c:cat>
          <c:val>
            <c:numRef>
              <c:f>'CBA Workings baseline'!$E$124:$K$124</c:f>
              <c:numCache>
                <c:formatCode>#,##0_ ;[Red]\-#,##0\ </c:formatCode>
                <c:ptCount val="7"/>
                <c:pt idx="0">
                  <c:v>482.06519861869651</c:v>
                </c:pt>
                <c:pt idx="1">
                  <c:v>729.08492362316247</c:v>
                </c:pt>
                <c:pt idx="2">
                  <c:v>430.72540106650536</c:v>
                </c:pt>
                <c:pt idx="3">
                  <c:v>-285.32591938964731</c:v>
                </c:pt>
                <c:pt idx="4">
                  <c:v>-438.02622310494201</c:v>
                </c:pt>
                <c:pt idx="5">
                  <c:v>-537.81502248025845</c:v>
                </c:pt>
                <c:pt idx="6">
                  <c:v>-382.03924463724684</c:v>
                </c:pt>
              </c:numCache>
            </c:numRef>
          </c:val>
          <c:extLst>
            <c:ext xmlns:c16="http://schemas.microsoft.com/office/drawing/2014/chart" uri="{C3380CC4-5D6E-409C-BE32-E72D297353CC}">
              <c16:uniqueId val="{00000002-E1FA-41EE-BBE7-319D2536144E}"/>
            </c:ext>
          </c:extLst>
        </c:ser>
        <c:dLbls>
          <c:showLegendKey val="0"/>
          <c:showVal val="0"/>
          <c:showCatName val="0"/>
          <c:showSerName val="0"/>
          <c:showPercent val="0"/>
          <c:showBubbleSize val="0"/>
        </c:dLbls>
        <c:gapWidth val="219"/>
        <c:overlap val="-27"/>
        <c:axId val="513649919"/>
        <c:axId val="513647519"/>
      </c:barChart>
      <c:catAx>
        <c:axId val="513649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647519"/>
        <c:crosses val="autoZero"/>
        <c:auto val="1"/>
        <c:lblAlgn val="ctr"/>
        <c:lblOffset val="100"/>
        <c:noMultiLvlLbl val="0"/>
      </c:catAx>
      <c:valAx>
        <c:axId val="51364751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inforcement cost (£m)</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_ ;[Red]\-#,##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649919"/>
        <c:crosses val="autoZero"/>
        <c:crossBetween val="between"/>
      </c:valAx>
      <c:spPr>
        <a:noFill/>
        <a:ln>
          <a:noFill/>
        </a:ln>
        <a:effectLst/>
      </c:spPr>
    </c:plotArea>
    <c:legend>
      <c:legendPos val="b"/>
      <c:layout>
        <c:manualLayout>
          <c:xMode val="edge"/>
          <c:yMode val="edge"/>
          <c:x val="0.15000787401574803"/>
          <c:y val="6.0763342082239678E-2"/>
          <c:w val="0.49998425196850393"/>
          <c:h val="7.8125546806649182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numRef>
              <c:f>'CBA Workings baseline'!$E$114:$K$114</c:f>
              <c:numCache>
                <c:formatCode>General</c:formatCode>
                <c:ptCount val="7"/>
                <c:pt idx="0">
                  <c:v>2025</c:v>
                </c:pt>
                <c:pt idx="1">
                  <c:v>2026</c:v>
                </c:pt>
                <c:pt idx="2">
                  <c:v>2027</c:v>
                </c:pt>
                <c:pt idx="3">
                  <c:v>2028</c:v>
                </c:pt>
                <c:pt idx="4">
                  <c:v>2029</c:v>
                </c:pt>
                <c:pt idx="5">
                  <c:v>2030</c:v>
                </c:pt>
                <c:pt idx="6">
                  <c:v>2031</c:v>
                </c:pt>
              </c:numCache>
            </c:numRef>
          </c:cat>
          <c:val>
            <c:numRef>
              <c:f>'CBA Workings baseline'!$E$128:$K$128</c:f>
              <c:numCache>
                <c:formatCode>#,##0_ ;[Red]\-#,##0\ ;\ \-\ </c:formatCode>
                <c:ptCount val="7"/>
                <c:pt idx="0">
                  <c:v>16745.666070681495</c:v>
                </c:pt>
                <c:pt idx="1">
                  <c:v>19520.118315938431</c:v>
                </c:pt>
                <c:pt idx="2">
                  <c:v>24436.523331936896</c:v>
                </c:pt>
                <c:pt idx="3">
                  <c:v>-5661.1388346257954</c:v>
                </c:pt>
                <c:pt idx="4">
                  <c:v>-16066.209181607494</c:v>
                </c:pt>
                <c:pt idx="5">
                  <c:v>-16878.631891043999</c:v>
                </c:pt>
                <c:pt idx="6">
                  <c:v>-14873.195269946229</c:v>
                </c:pt>
              </c:numCache>
            </c:numRef>
          </c:val>
          <c:extLst>
            <c:ext xmlns:c16="http://schemas.microsoft.com/office/drawing/2014/chart" uri="{C3380CC4-5D6E-409C-BE32-E72D297353CC}">
              <c16:uniqueId val="{00000000-2B00-4708-9A69-76484CD6FE2B}"/>
            </c:ext>
          </c:extLst>
        </c:ser>
        <c:dLbls>
          <c:showLegendKey val="0"/>
          <c:showVal val="0"/>
          <c:showCatName val="0"/>
          <c:showSerName val="0"/>
          <c:showPercent val="0"/>
          <c:showBubbleSize val="0"/>
        </c:dLbls>
        <c:gapWidth val="219"/>
        <c:overlap val="-27"/>
        <c:axId val="385632015"/>
        <c:axId val="385647855"/>
      </c:barChart>
      <c:catAx>
        <c:axId val="385632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5647855"/>
        <c:crosses val="autoZero"/>
        <c:auto val="1"/>
        <c:lblAlgn val="ctr"/>
        <c:lblOffset val="100"/>
        <c:noMultiLvlLbl val="0"/>
      </c:catAx>
      <c:valAx>
        <c:axId val="385647855"/>
        <c:scaling>
          <c:orientation val="minMax"/>
          <c:max val="25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Savings </a:t>
                </a:r>
                <a:r>
                  <a:rPr lang="en-US" dirty="0" err="1"/>
                  <a:t>kton</a:t>
                </a:r>
                <a:r>
                  <a:rPr lang="en-US" dirty="0"/>
                  <a:t> CO2-eq</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_ ;[Red]\-#,##0\ ;\ \-\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563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586710-780F-4D01-B66F-0E523F672940}" type="doc">
      <dgm:prSet loTypeId="urn:microsoft.com/office/officeart/2005/8/layout/bProcess2" loCatId="process" qsTypeId="urn:microsoft.com/office/officeart/2005/8/quickstyle/simple1" qsCatId="simple" csTypeId="urn:microsoft.com/office/officeart/2005/8/colors/accent2_2" csCatId="accent2" phldr="1"/>
      <dgm:spPr/>
      <dgm:t>
        <a:bodyPr/>
        <a:lstStyle/>
        <a:p>
          <a:endParaRPr lang="en-GB"/>
        </a:p>
      </dgm:t>
    </dgm:pt>
    <dgm:pt modelId="{35488733-40DD-4CD1-B8BE-7A18061F3280}">
      <dgm:prSet phldrT="[Text]" custT="1"/>
      <dgm:spPr/>
      <dgm:t>
        <a:bodyPr/>
        <a:lstStyle/>
        <a:p>
          <a:r>
            <a:rPr lang="en-GB" sz="1600"/>
            <a:t>Longlist of housing providers in licence area (138)</a:t>
          </a:r>
        </a:p>
      </dgm:t>
    </dgm:pt>
    <dgm:pt modelId="{ACC2DF88-C571-444F-BF20-9BBD6F55BE44}" type="parTrans" cxnId="{1E9B9A41-F2F7-498E-858E-AC36A2D13DC6}">
      <dgm:prSet/>
      <dgm:spPr/>
      <dgm:t>
        <a:bodyPr/>
        <a:lstStyle/>
        <a:p>
          <a:endParaRPr lang="en-GB" sz="1600"/>
        </a:p>
      </dgm:t>
    </dgm:pt>
    <dgm:pt modelId="{7C4548AF-0B60-451E-AE70-349ABB8B2A3C}" type="sibTrans" cxnId="{1E9B9A41-F2F7-498E-858E-AC36A2D13DC6}">
      <dgm:prSet/>
      <dgm:spPr/>
      <dgm:t>
        <a:bodyPr/>
        <a:lstStyle/>
        <a:p>
          <a:endParaRPr lang="en-GB" sz="1600"/>
        </a:p>
      </dgm:t>
    </dgm:pt>
    <dgm:pt modelId="{47881BC5-EAF2-4A7B-AA38-60FD7640ECE3}">
      <dgm:prSet phldrT="[Text]" custT="1"/>
      <dgm:spPr/>
      <dgm:t>
        <a:bodyPr/>
        <a:lstStyle/>
        <a:p>
          <a:r>
            <a:rPr lang="en-GB" sz="1600"/>
            <a:t>Known contacts shortlisted (16)</a:t>
          </a:r>
        </a:p>
      </dgm:t>
    </dgm:pt>
    <dgm:pt modelId="{AD70E88F-6790-453C-86C3-71B32DFE39D2}" type="parTrans" cxnId="{9134BA26-F15D-45D6-BBC0-08261656460B}">
      <dgm:prSet/>
      <dgm:spPr/>
      <dgm:t>
        <a:bodyPr/>
        <a:lstStyle/>
        <a:p>
          <a:endParaRPr lang="en-GB" sz="1600"/>
        </a:p>
      </dgm:t>
    </dgm:pt>
    <dgm:pt modelId="{B105AA1E-10B3-4C4F-B3C4-D082B129AC3A}" type="sibTrans" cxnId="{9134BA26-F15D-45D6-BBC0-08261656460B}">
      <dgm:prSet/>
      <dgm:spPr/>
      <dgm:t>
        <a:bodyPr/>
        <a:lstStyle/>
        <a:p>
          <a:endParaRPr lang="en-GB" sz="1600"/>
        </a:p>
      </dgm:t>
    </dgm:pt>
    <dgm:pt modelId="{EDE957E8-5B3A-4972-892B-DB3BEFE7D90D}">
      <dgm:prSet phldrT="[Text]" custT="1"/>
      <dgm:spPr/>
      <dgm:t>
        <a:bodyPr/>
        <a:lstStyle/>
        <a:p>
          <a:r>
            <a:rPr lang="en-GB" sz="1600" dirty="0"/>
            <a:t>Communications materials and interviews designed</a:t>
          </a:r>
        </a:p>
      </dgm:t>
    </dgm:pt>
    <dgm:pt modelId="{1E0AF665-AA77-43EE-A002-F7ECC703949D}" type="parTrans" cxnId="{71DE8EC6-CFCD-4BA9-89B3-195A73499466}">
      <dgm:prSet/>
      <dgm:spPr/>
      <dgm:t>
        <a:bodyPr/>
        <a:lstStyle/>
        <a:p>
          <a:endParaRPr lang="en-GB" sz="1600"/>
        </a:p>
      </dgm:t>
    </dgm:pt>
    <dgm:pt modelId="{06CA543B-9973-4C5E-AB9E-52E49F698F5C}" type="sibTrans" cxnId="{71DE8EC6-CFCD-4BA9-89B3-195A73499466}">
      <dgm:prSet/>
      <dgm:spPr/>
      <dgm:t>
        <a:bodyPr/>
        <a:lstStyle/>
        <a:p>
          <a:endParaRPr lang="en-GB" sz="1600"/>
        </a:p>
      </dgm:t>
    </dgm:pt>
    <dgm:pt modelId="{BDCC7688-883F-4905-B7F1-CB9C850F551C}">
      <dgm:prSet phldrT="[Text]" custT="1"/>
      <dgm:spPr/>
      <dgm:t>
        <a:bodyPr/>
        <a:lstStyle/>
        <a:p>
          <a:r>
            <a:rPr lang="en-GB" sz="1600"/>
            <a:t>Contacts emailed </a:t>
          </a:r>
        </a:p>
      </dgm:t>
    </dgm:pt>
    <dgm:pt modelId="{AE165989-3DC9-4CF9-A098-5BEB2FFFF8F6}" type="parTrans" cxnId="{2111CABB-858A-4443-88E8-C1B0B10F1971}">
      <dgm:prSet/>
      <dgm:spPr/>
      <dgm:t>
        <a:bodyPr/>
        <a:lstStyle/>
        <a:p>
          <a:endParaRPr lang="en-GB" sz="1600"/>
        </a:p>
      </dgm:t>
    </dgm:pt>
    <dgm:pt modelId="{AC995B5B-55E0-42D8-9322-A8A40F9326D3}" type="sibTrans" cxnId="{2111CABB-858A-4443-88E8-C1B0B10F1971}">
      <dgm:prSet/>
      <dgm:spPr/>
      <dgm:t>
        <a:bodyPr/>
        <a:lstStyle/>
        <a:p>
          <a:endParaRPr lang="en-GB" sz="1600"/>
        </a:p>
      </dgm:t>
    </dgm:pt>
    <dgm:pt modelId="{C3BCFFB1-6269-4B58-8F6F-70A1E22573C9}">
      <dgm:prSet phldrT="[Text]" custT="1"/>
      <dgm:spPr/>
      <dgm:t>
        <a:bodyPr/>
        <a:lstStyle/>
        <a:p>
          <a:r>
            <a:rPr lang="en-GB" sz="1600"/>
            <a:t>Additional referrals received (2)</a:t>
          </a:r>
        </a:p>
      </dgm:t>
    </dgm:pt>
    <dgm:pt modelId="{97C6D05F-A6FA-4874-A0E4-542856C1929B}" type="parTrans" cxnId="{42F97DBB-C64B-4C38-96E8-B6F2E73997D9}">
      <dgm:prSet/>
      <dgm:spPr/>
      <dgm:t>
        <a:bodyPr/>
        <a:lstStyle/>
        <a:p>
          <a:endParaRPr lang="en-GB" sz="1600"/>
        </a:p>
      </dgm:t>
    </dgm:pt>
    <dgm:pt modelId="{EAB0C3FE-A965-4AD3-8113-211154967626}" type="sibTrans" cxnId="{42F97DBB-C64B-4C38-96E8-B6F2E73997D9}">
      <dgm:prSet/>
      <dgm:spPr/>
      <dgm:t>
        <a:bodyPr/>
        <a:lstStyle/>
        <a:p>
          <a:endParaRPr lang="en-GB" sz="1600"/>
        </a:p>
      </dgm:t>
    </dgm:pt>
    <dgm:pt modelId="{09AF8EDF-974C-4269-8FC8-9068BFB89A99}">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600"/>
            <a:t>Interviews completed</a:t>
          </a:r>
        </a:p>
        <a:p>
          <a:pPr marL="0" marR="0" lvl="0" indent="0" defTabSz="914400" eaLnBrk="1" fontAlgn="auto" latinLnBrk="0" hangingPunct="1">
            <a:lnSpc>
              <a:spcPct val="100000"/>
            </a:lnSpc>
            <a:spcBef>
              <a:spcPts val="0"/>
            </a:spcBef>
            <a:spcAft>
              <a:spcPts val="0"/>
            </a:spcAft>
            <a:buClrTx/>
            <a:buSzTx/>
            <a:buFontTx/>
            <a:buNone/>
            <a:tabLst/>
            <a:defRPr/>
          </a:pPr>
          <a:r>
            <a:rPr lang="en-GB" sz="1600"/>
            <a:t>(8)</a:t>
          </a:r>
        </a:p>
      </dgm:t>
    </dgm:pt>
    <dgm:pt modelId="{7084D0BB-F3E4-4E76-95DB-BBEE4C57075C}" type="parTrans" cxnId="{65F348CD-3392-48D7-9D11-1D362FF6018D}">
      <dgm:prSet/>
      <dgm:spPr/>
      <dgm:t>
        <a:bodyPr/>
        <a:lstStyle/>
        <a:p>
          <a:endParaRPr lang="en-GB" sz="1600"/>
        </a:p>
      </dgm:t>
    </dgm:pt>
    <dgm:pt modelId="{8AF8ABE4-E3AF-498B-AC8B-ADFB7A3DE22D}" type="sibTrans" cxnId="{65F348CD-3392-48D7-9D11-1D362FF6018D}">
      <dgm:prSet/>
      <dgm:spPr/>
      <dgm:t>
        <a:bodyPr/>
        <a:lstStyle/>
        <a:p>
          <a:endParaRPr lang="en-GB" sz="1600"/>
        </a:p>
      </dgm:t>
    </dgm:pt>
    <dgm:pt modelId="{10F989A0-7402-4551-9542-B2A3E0A27006}" type="pres">
      <dgm:prSet presAssocID="{18586710-780F-4D01-B66F-0E523F672940}" presName="diagram" presStyleCnt="0">
        <dgm:presLayoutVars>
          <dgm:dir/>
          <dgm:resizeHandles/>
        </dgm:presLayoutVars>
      </dgm:prSet>
      <dgm:spPr/>
    </dgm:pt>
    <dgm:pt modelId="{F3E255CC-3824-4F72-AE84-BCC7217C4328}" type="pres">
      <dgm:prSet presAssocID="{35488733-40DD-4CD1-B8BE-7A18061F3280}" presName="firstNode" presStyleLbl="node1" presStyleIdx="0" presStyleCnt="6">
        <dgm:presLayoutVars>
          <dgm:bulletEnabled val="1"/>
        </dgm:presLayoutVars>
      </dgm:prSet>
      <dgm:spPr/>
    </dgm:pt>
    <dgm:pt modelId="{BF182363-271A-41C9-86E6-CE637B6D83E5}" type="pres">
      <dgm:prSet presAssocID="{7C4548AF-0B60-451E-AE70-349ABB8B2A3C}" presName="sibTrans" presStyleLbl="sibTrans2D1" presStyleIdx="0" presStyleCnt="5"/>
      <dgm:spPr/>
    </dgm:pt>
    <dgm:pt modelId="{300CA6A7-C038-421B-9D4A-5B2CED6FD872}" type="pres">
      <dgm:prSet presAssocID="{47881BC5-EAF2-4A7B-AA38-60FD7640ECE3}" presName="middleNode" presStyleCnt="0"/>
      <dgm:spPr/>
    </dgm:pt>
    <dgm:pt modelId="{C1C09863-D915-4BB9-ABA7-D1AD7A584B0E}" type="pres">
      <dgm:prSet presAssocID="{47881BC5-EAF2-4A7B-AA38-60FD7640ECE3}" presName="padding" presStyleLbl="node1" presStyleIdx="0" presStyleCnt="6"/>
      <dgm:spPr/>
    </dgm:pt>
    <dgm:pt modelId="{266ADDBD-2F28-432C-8A6D-52FEF2349E08}" type="pres">
      <dgm:prSet presAssocID="{47881BC5-EAF2-4A7B-AA38-60FD7640ECE3}" presName="shape" presStyleLbl="node1" presStyleIdx="1" presStyleCnt="6">
        <dgm:presLayoutVars>
          <dgm:bulletEnabled val="1"/>
        </dgm:presLayoutVars>
      </dgm:prSet>
      <dgm:spPr/>
    </dgm:pt>
    <dgm:pt modelId="{F70BBAA3-6D63-412E-92C0-609B4839C144}" type="pres">
      <dgm:prSet presAssocID="{B105AA1E-10B3-4C4F-B3C4-D082B129AC3A}" presName="sibTrans" presStyleLbl="sibTrans2D1" presStyleIdx="1" presStyleCnt="5"/>
      <dgm:spPr/>
    </dgm:pt>
    <dgm:pt modelId="{3A7E658B-E1D3-4360-B89D-56159A802DC1}" type="pres">
      <dgm:prSet presAssocID="{EDE957E8-5B3A-4972-892B-DB3BEFE7D90D}" presName="middleNode" presStyleCnt="0"/>
      <dgm:spPr/>
    </dgm:pt>
    <dgm:pt modelId="{4922E99F-2E8A-480C-BD81-41D9547FE306}" type="pres">
      <dgm:prSet presAssocID="{EDE957E8-5B3A-4972-892B-DB3BEFE7D90D}" presName="padding" presStyleLbl="node1" presStyleIdx="1" presStyleCnt="6"/>
      <dgm:spPr/>
    </dgm:pt>
    <dgm:pt modelId="{4ACA4A5E-DA23-4B8E-AFCD-57FD85BA07C0}" type="pres">
      <dgm:prSet presAssocID="{EDE957E8-5B3A-4972-892B-DB3BEFE7D90D}" presName="shape" presStyleLbl="node1" presStyleIdx="2" presStyleCnt="6" custScaleX="169068" custScaleY="162057">
        <dgm:presLayoutVars>
          <dgm:bulletEnabled val="1"/>
        </dgm:presLayoutVars>
      </dgm:prSet>
      <dgm:spPr/>
    </dgm:pt>
    <dgm:pt modelId="{B930BA8F-B9DD-4DF0-A979-AD6BD39A548D}" type="pres">
      <dgm:prSet presAssocID="{06CA543B-9973-4C5E-AB9E-52E49F698F5C}" presName="sibTrans" presStyleLbl="sibTrans2D1" presStyleIdx="2" presStyleCnt="5"/>
      <dgm:spPr/>
    </dgm:pt>
    <dgm:pt modelId="{9D298F2C-82AE-4221-A567-13C09CB67841}" type="pres">
      <dgm:prSet presAssocID="{BDCC7688-883F-4905-B7F1-CB9C850F551C}" presName="middleNode" presStyleCnt="0"/>
      <dgm:spPr/>
    </dgm:pt>
    <dgm:pt modelId="{E7D2BEDF-BBDD-4B8B-B75D-2E59E21F5055}" type="pres">
      <dgm:prSet presAssocID="{BDCC7688-883F-4905-B7F1-CB9C850F551C}" presName="padding" presStyleLbl="node1" presStyleIdx="2" presStyleCnt="6"/>
      <dgm:spPr/>
    </dgm:pt>
    <dgm:pt modelId="{E02B2B78-C13B-459D-83D1-0B15F91473E5}" type="pres">
      <dgm:prSet presAssocID="{BDCC7688-883F-4905-B7F1-CB9C850F551C}" presName="shape" presStyleLbl="node1" presStyleIdx="3" presStyleCnt="6">
        <dgm:presLayoutVars>
          <dgm:bulletEnabled val="1"/>
        </dgm:presLayoutVars>
      </dgm:prSet>
      <dgm:spPr/>
    </dgm:pt>
    <dgm:pt modelId="{B61E1564-2AB6-4589-9DAF-284072F4532F}" type="pres">
      <dgm:prSet presAssocID="{AC995B5B-55E0-42D8-9322-A8A40F9326D3}" presName="sibTrans" presStyleLbl="sibTrans2D1" presStyleIdx="3" presStyleCnt="5"/>
      <dgm:spPr/>
    </dgm:pt>
    <dgm:pt modelId="{A03DAFEC-D86E-42AE-B380-100325A94FE1}" type="pres">
      <dgm:prSet presAssocID="{C3BCFFB1-6269-4B58-8F6F-70A1E22573C9}" presName="middleNode" presStyleCnt="0"/>
      <dgm:spPr/>
    </dgm:pt>
    <dgm:pt modelId="{3BDA8FDE-E44B-4D19-A19F-30F42827AE92}" type="pres">
      <dgm:prSet presAssocID="{C3BCFFB1-6269-4B58-8F6F-70A1E22573C9}" presName="padding" presStyleLbl="node1" presStyleIdx="3" presStyleCnt="6"/>
      <dgm:spPr/>
    </dgm:pt>
    <dgm:pt modelId="{281F98F1-3A2D-4D07-81F8-9340675FB6E1}" type="pres">
      <dgm:prSet presAssocID="{C3BCFFB1-6269-4B58-8F6F-70A1E22573C9}" presName="shape" presStyleLbl="node1" presStyleIdx="4" presStyleCnt="6">
        <dgm:presLayoutVars>
          <dgm:bulletEnabled val="1"/>
        </dgm:presLayoutVars>
      </dgm:prSet>
      <dgm:spPr/>
    </dgm:pt>
    <dgm:pt modelId="{6707013A-66CB-40E5-82EA-CB16DCEB058F}" type="pres">
      <dgm:prSet presAssocID="{EAB0C3FE-A965-4AD3-8113-211154967626}" presName="sibTrans" presStyleLbl="sibTrans2D1" presStyleIdx="4" presStyleCnt="5"/>
      <dgm:spPr/>
    </dgm:pt>
    <dgm:pt modelId="{FF1BAA03-6A9D-4D04-A6EB-286DDB993C56}" type="pres">
      <dgm:prSet presAssocID="{09AF8EDF-974C-4269-8FC8-9068BFB89A99}" presName="lastNode" presStyleLbl="node1" presStyleIdx="5" presStyleCnt="6">
        <dgm:presLayoutVars>
          <dgm:bulletEnabled val="1"/>
        </dgm:presLayoutVars>
      </dgm:prSet>
      <dgm:spPr/>
    </dgm:pt>
  </dgm:ptLst>
  <dgm:cxnLst>
    <dgm:cxn modelId="{1CF0F516-74F9-4A0D-8E02-16D6AAC7DAD3}" type="presOf" srcId="{B105AA1E-10B3-4C4F-B3C4-D082B129AC3A}" destId="{F70BBAA3-6D63-412E-92C0-609B4839C144}" srcOrd="0" destOrd="0" presId="urn:microsoft.com/office/officeart/2005/8/layout/bProcess2"/>
    <dgm:cxn modelId="{244FCF24-E535-4FA7-AEBC-69C4AAC3E446}" type="presOf" srcId="{35488733-40DD-4CD1-B8BE-7A18061F3280}" destId="{F3E255CC-3824-4F72-AE84-BCC7217C4328}" srcOrd="0" destOrd="0" presId="urn:microsoft.com/office/officeart/2005/8/layout/bProcess2"/>
    <dgm:cxn modelId="{9134BA26-F15D-45D6-BBC0-08261656460B}" srcId="{18586710-780F-4D01-B66F-0E523F672940}" destId="{47881BC5-EAF2-4A7B-AA38-60FD7640ECE3}" srcOrd="1" destOrd="0" parTransId="{AD70E88F-6790-453C-86C3-71B32DFE39D2}" sibTransId="{B105AA1E-10B3-4C4F-B3C4-D082B129AC3A}"/>
    <dgm:cxn modelId="{C5EC1D38-1A5B-4796-A2E4-57900FCC773C}" type="presOf" srcId="{EAB0C3FE-A965-4AD3-8113-211154967626}" destId="{6707013A-66CB-40E5-82EA-CB16DCEB058F}" srcOrd="0" destOrd="0" presId="urn:microsoft.com/office/officeart/2005/8/layout/bProcess2"/>
    <dgm:cxn modelId="{1E9B9A41-F2F7-498E-858E-AC36A2D13DC6}" srcId="{18586710-780F-4D01-B66F-0E523F672940}" destId="{35488733-40DD-4CD1-B8BE-7A18061F3280}" srcOrd="0" destOrd="0" parTransId="{ACC2DF88-C571-444F-BF20-9BBD6F55BE44}" sibTransId="{7C4548AF-0B60-451E-AE70-349ABB8B2A3C}"/>
    <dgm:cxn modelId="{91AA336E-A808-467A-8D40-8208EC6CBBDC}" type="presOf" srcId="{09AF8EDF-974C-4269-8FC8-9068BFB89A99}" destId="{FF1BAA03-6A9D-4D04-A6EB-286DDB993C56}" srcOrd="0" destOrd="0" presId="urn:microsoft.com/office/officeart/2005/8/layout/bProcess2"/>
    <dgm:cxn modelId="{3A7D924E-CFAC-4B8B-A17B-9336F855D5CC}" type="presOf" srcId="{EDE957E8-5B3A-4972-892B-DB3BEFE7D90D}" destId="{4ACA4A5E-DA23-4B8E-AFCD-57FD85BA07C0}" srcOrd="0" destOrd="0" presId="urn:microsoft.com/office/officeart/2005/8/layout/bProcess2"/>
    <dgm:cxn modelId="{FCA6C570-5C75-48FD-AA47-CE9594E64C39}" type="presOf" srcId="{BDCC7688-883F-4905-B7F1-CB9C850F551C}" destId="{E02B2B78-C13B-459D-83D1-0B15F91473E5}" srcOrd="0" destOrd="0" presId="urn:microsoft.com/office/officeart/2005/8/layout/bProcess2"/>
    <dgm:cxn modelId="{58A24B7B-1C46-4415-9A46-2D89F2B353C0}" type="presOf" srcId="{7C4548AF-0B60-451E-AE70-349ABB8B2A3C}" destId="{BF182363-271A-41C9-86E6-CE637B6D83E5}" srcOrd="0" destOrd="0" presId="urn:microsoft.com/office/officeart/2005/8/layout/bProcess2"/>
    <dgm:cxn modelId="{ADC8CD8A-39E4-494F-A94F-7BC46191587C}" type="presOf" srcId="{06CA543B-9973-4C5E-AB9E-52E49F698F5C}" destId="{B930BA8F-B9DD-4DF0-A979-AD6BD39A548D}" srcOrd="0" destOrd="0" presId="urn:microsoft.com/office/officeart/2005/8/layout/bProcess2"/>
    <dgm:cxn modelId="{6303849E-5395-4C73-8301-75E7ED0B7510}" type="presOf" srcId="{18586710-780F-4D01-B66F-0E523F672940}" destId="{10F989A0-7402-4551-9542-B2A3E0A27006}" srcOrd="0" destOrd="0" presId="urn:microsoft.com/office/officeart/2005/8/layout/bProcess2"/>
    <dgm:cxn modelId="{42F97DBB-C64B-4C38-96E8-B6F2E73997D9}" srcId="{18586710-780F-4D01-B66F-0E523F672940}" destId="{C3BCFFB1-6269-4B58-8F6F-70A1E22573C9}" srcOrd="4" destOrd="0" parTransId="{97C6D05F-A6FA-4874-A0E4-542856C1929B}" sibTransId="{EAB0C3FE-A965-4AD3-8113-211154967626}"/>
    <dgm:cxn modelId="{06F899BB-86EF-4E93-A155-3C8E6E954C36}" type="presOf" srcId="{C3BCFFB1-6269-4B58-8F6F-70A1E22573C9}" destId="{281F98F1-3A2D-4D07-81F8-9340675FB6E1}" srcOrd="0" destOrd="0" presId="urn:microsoft.com/office/officeart/2005/8/layout/bProcess2"/>
    <dgm:cxn modelId="{2111CABB-858A-4443-88E8-C1B0B10F1971}" srcId="{18586710-780F-4D01-B66F-0E523F672940}" destId="{BDCC7688-883F-4905-B7F1-CB9C850F551C}" srcOrd="3" destOrd="0" parTransId="{AE165989-3DC9-4CF9-A098-5BEB2FFFF8F6}" sibTransId="{AC995B5B-55E0-42D8-9322-A8A40F9326D3}"/>
    <dgm:cxn modelId="{71DE8EC6-CFCD-4BA9-89B3-195A73499466}" srcId="{18586710-780F-4D01-B66F-0E523F672940}" destId="{EDE957E8-5B3A-4972-892B-DB3BEFE7D90D}" srcOrd="2" destOrd="0" parTransId="{1E0AF665-AA77-43EE-A002-F7ECC703949D}" sibTransId="{06CA543B-9973-4C5E-AB9E-52E49F698F5C}"/>
    <dgm:cxn modelId="{65F348CD-3392-48D7-9D11-1D362FF6018D}" srcId="{18586710-780F-4D01-B66F-0E523F672940}" destId="{09AF8EDF-974C-4269-8FC8-9068BFB89A99}" srcOrd="5" destOrd="0" parTransId="{7084D0BB-F3E4-4E76-95DB-BBEE4C57075C}" sibTransId="{8AF8ABE4-E3AF-498B-AC8B-ADFB7A3DE22D}"/>
    <dgm:cxn modelId="{0E12FEE8-4A06-4FF6-88AB-590ACCAB7873}" type="presOf" srcId="{47881BC5-EAF2-4A7B-AA38-60FD7640ECE3}" destId="{266ADDBD-2F28-432C-8A6D-52FEF2349E08}" srcOrd="0" destOrd="0" presId="urn:microsoft.com/office/officeart/2005/8/layout/bProcess2"/>
    <dgm:cxn modelId="{0794D5F0-34CD-475C-890B-3D1ED1064EC4}" type="presOf" srcId="{AC995B5B-55E0-42D8-9322-A8A40F9326D3}" destId="{B61E1564-2AB6-4589-9DAF-284072F4532F}" srcOrd="0" destOrd="0" presId="urn:microsoft.com/office/officeart/2005/8/layout/bProcess2"/>
    <dgm:cxn modelId="{EACB93E4-6149-484D-9173-760910D3EB1B}" type="presParOf" srcId="{10F989A0-7402-4551-9542-B2A3E0A27006}" destId="{F3E255CC-3824-4F72-AE84-BCC7217C4328}" srcOrd="0" destOrd="0" presId="urn:microsoft.com/office/officeart/2005/8/layout/bProcess2"/>
    <dgm:cxn modelId="{4B4BF68D-D7B0-4958-A000-117742F75F1C}" type="presParOf" srcId="{10F989A0-7402-4551-9542-B2A3E0A27006}" destId="{BF182363-271A-41C9-86E6-CE637B6D83E5}" srcOrd="1" destOrd="0" presId="urn:microsoft.com/office/officeart/2005/8/layout/bProcess2"/>
    <dgm:cxn modelId="{E17D571A-5286-435F-A085-975EBFD0AEE9}" type="presParOf" srcId="{10F989A0-7402-4551-9542-B2A3E0A27006}" destId="{300CA6A7-C038-421B-9D4A-5B2CED6FD872}" srcOrd="2" destOrd="0" presId="urn:microsoft.com/office/officeart/2005/8/layout/bProcess2"/>
    <dgm:cxn modelId="{4C2EB250-AD79-4CD2-B626-07C4B280035D}" type="presParOf" srcId="{300CA6A7-C038-421B-9D4A-5B2CED6FD872}" destId="{C1C09863-D915-4BB9-ABA7-D1AD7A584B0E}" srcOrd="0" destOrd="0" presId="urn:microsoft.com/office/officeart/2005/8/layout/bProcess2"/>
    <dgm:cxn modelId="{DE832915-180A-4163-812C-97000737DB30}" type="presParOf" srcId="{300CA6A7-C038-421B-9D4A-5B2CED6FD872}" destId="{266ADDBD-2F28-432C-8A6D-52FEF2349E08}" srcOrd="1" destOrd="0" presId="urn:microsoft.com/office/officeart/2005/8/layout/bProcess2"/>
    <dgm:cxn modelId="{25E5CFFC-B188-4663-9940-080C63E7E53E}" type="presParOf" srcId="{10F989A0-7402-4551-9542-B2A3E0A27006}" destId="{F70BBAA3-6D63-412E-92C0-609B4839C144}" srcOrd="3" destOrd="0" presId="urn:microsoft.com/office/officeart/2005/8/layout/bProcess2"/>
    <dgm:cxn modelId="{BFB97365-8410-4611-AF0D-0A837C4E2398}" type="presParOf" srcId="{10F989A0-7402-4551-9542-B2A3E0A27006}" destId="{3A7E658B-E1D3-4360-B89D-56159A802DC1}" srcOrd="4" destOrd="0" presId="urn:microsoft.com/office/officeart/2005/8/layout/bProcess2"/>
    <dgm:cxn modelId="{DC1B8915-DFF0-4027-93D8-47BC29A05A04}" type="presParOf" srcId="{3A7E658B-E1D3-4360-B89D-56159A802DC1}" destId="{4922E99F-2E8A-480C-BD81-41D9547FE306}" srcOrd="0" destOrd="0" presId="urn:microsoft.com/office/officeart/2005/8/layout/bProcess2"/>
    <dgm:cxn modelId="{2C0587E2-0191-4E2A-8BD9-5272B5B33C32}" type="presParOf" srcId="{3A7E658B-E1D3-4360-B89D-56159A802DC1}" destId="{4ACA4A5E-DA23-4B8E-AFCD-57FD85BA07C0}" srcOrd="1" destOrd="0" presId="urn:microsoft.com/office/officeart/2005/8/layout/bProcess2"/>
    <dgm:cxn modelId="{C35CD246-CDAD-45FA-BB17-195C6E78AC08}" type="presParOf" srcId="{10F989A0-7402-4551-9542-B2A3E0A27006}" destId="{B930BA8F-B9DD-4DF0-A979-AD6BD39A548D}" srcOrd="5" destOrd="0" presId="urn:microsoft.com/office/officeart/2005/8/layout/bProcess2"/>
    <dgm:cxn modelId="{308E3DA6-F938-4437-85C1-0751FE9155A1}" type="presParOf" srcId="{10F989A0-7402-4551-9542-B2A3E0A27006}" destId="{9D298F2C-82AE-4221-A567-13C09CB67841}" srcOrd="6" destOrd="0" presId="urn:microsoft.com/office/officeart/2005/8/layout/bProcess2"/>
    <dgm:cxn modelId="{CE86D50D-94C5-499D-9D89-B7FBFB990526}" type="presParOf" srcId="{9D298F2C-82AE-4221-A567-13C09CB67841}" destId="{E7D2BEDF-BBDD-4B8B-B75D-2E59E21F5055}" srcOrd="0" destOrd="0" presId="urn:microsoft.com/office/officeart/2005/8/layout/bProcess2"/>
    <dgm:cxn modelId="{E951B221-3F78-4462-BB4D-5A9B746E0F17}" type="presParOf" srcId="{9D298F2C-82AE-4221-A567-13C09CB67841}" destId="{E02B2B78-C13B-459D-83D1-0B15F91473E5}" srcOrd="1" destOrd="0" presId="urn:microsoft.com/office/officeart/2005/8/layout/bProcess2"/>
    <dgm:cxn modelId="{6740D06A-27E7-481B-ABB9-56E26428E8A6}" type="presParOf" srcId="{10F989A0-7402-4551-9542-B2A3E0A27006}" destId="{B61E1564-2AB6-4589-9DAF-284072F4532F}" srcOrd="7" destOrd="0" presId="urn:microsoft.com/office/officeart/2005/8/layout/bProcess2"/>
    <dgm:cxn modelId="{E9C035AD-CC49-406B-ABB9-61E9703E3D35}" type="presParOf" srcId="{10F989A0-7402-4551-9542-B2A3E0A27006}" destId="{A03DAFEC-D86E-42AE-B380-100325A94FE1}" srcOrd="8" destOrd="0" presId="urn:microsoft.com/office/officeart/2005/8/layout/bProcess2"/>
    <dgm:cxn modelId="{8E35C144-8C40-4AAC-936D-006A4DC85CCD}" type="presParOf" srcId="{A03DAFEC-D86E-42AE-B380-100325A94FE1}" destId="{3BDA8FDE-E44B-4D19-A19F-30F42827AE92}" srcOrd="0" destOrd="0" presId="urn:microsoft.com/office/officeart/2005/8/layout/bProcess2"/>
    <dgm:cxn modelId="{36377101-1902-428D-84D3-A8B7A58EC63F}" type="presParOf" srcId="{A03DAFEC-D86E-42AE-B380-100325A94FE1}" destId="{281F98F1-3A2D-4D07-81F8-9340675FB6E1}" srcOrd="1" destOrd="0" presId="urn:microsoft.com/office/officeart/2005/8/layout/bProcess2"/>
    <dgm:cxn modelId="{35815F94-46F8-4179-8694-E7FDA250F2C0}" type="presParOf" srcId="{10F989A0-7402-4551-9542-B2A3E0A27006}" destId="{6707013A-66CB-40E5-82EA-CB16DCEB058F}" srcOrd="9" destOrd="0" presId="urn:microsoft.com/office/officeart/2005/8/layout/bProcess2"/>
    <dgm:cxn modelId="{4A5CB074-9BBE-4A4B-A901-E5AB5D6371DF}" type="presParOf" srcId="{10F989A0-7402-4551-9542-B2A3E0A27006}" destId="{FF1BAA03-6A9D-4D04-A6EB-286DDB993C56}" srcOrd="10"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255CC-3824-4F72-AE84-BCC7217C4328}">
      <dsp:nvSpPr>
        <dsp:cNvPr id="0" name=""/>
        <dsp:cNvSpPr/>
      </dsp:nvSpPr>
      <dsp:spPr>
        <a:xfrm>
          <a:off x="189777" y="161606"/>
          <a:ext cx="1966687" cy="19666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Longlist of housing providers in licence area (138)</a:t>
          </a:r>
        </a:p>
      </dsp:txBody>
      <dsp:txXfrm>
        <a:off x="477792" y="449621"/>
        <a:ext cx="1390657" cy="1390657"/>
      </dsp:txXfrm>
    </dsp:sp>
    <dsp:sp modelId="{BF182363-271A-41C9-86E6-CE637B6D83E5}">
      <dsp:nvSpPr>
        <dsp:cNvPr id="0" name=""/>
        <dsp:cNvSpPr/>
      </dsp:nvSpPr>
      <dsp:spPr>
        <a:xfrm rot="10800000">
          <a:off x="828950" y="2382242"/>
          <a:ext cx="688340" cy="538370"/>
        </a:xfrm>
        <a:prstGeom prst="triangle">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66ADDBD-2F28-432C-8A6D-52FEF2349E08}">
      <dsp:nvSpPr>
        <dsp:cNvPr id="0" name=""/>
        <dsp:cNvSpPr/>
      </dsp:nvSpPr>
      <dsp:spPr>
        <a:xfrm>
          <a:off x="517230" y="3144088"/>
          <a:ext cx="1311780" cy="131178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Known contacts shortlisted (16)</a:t>
          </a:r>
        </a:p>
      </dsp:txBody>
      <dsp:txXfrm>
        <a:off x="709336" y="3336194"/>
        <a:ext cx="927568" cy="927568"/>
      </dsp:txXfrm>
    </dsp:sp>
    <dsp:sp modelId="{F70BBAA3-6D63-412E-92C0-609B4839C144}">
      <dsp:nvSpPr>
        <dsp:cNvPr id="0" name=""/>
        <dsp:cNvSpPr/>
      </dsp:nvSpPr>
      <dsp:spPr>
        <a:xfrm rot="5311078">
          <a:off x="2155563" y="3496470"/>
          <a:ext cx="688340" cy="538370"/>
        </a:xfrm>
        <a:prstGeom prst="triangle">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ACA4A5E-DA23-4B8E-AFCD-57FD85BA07C0}">
      <dsp:nvSpPr>
        <dsp:cNvPr id="0" name=""/>
        <dsp:cNvSpPr/>
      </dsp:nvSpPr>
      <dsp:spPr>
        <a:xfrm>
          <a:off x="3139808" y="2657489"/>
          <a:ext cx="2217801" cy="2125832"/>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Communications materials and interviews designed</a:t>
          </a:r>
        </a:p>
      </dsp:txBody>
      <dsp:txXfrm>
        <a:off x="3464597" y="2968810"/>
        <a:ext cx="1568223" cy="1503190"/>
      </dsp:txXfrm>
    </dsp:sp>
    <dsp:sp modelId="{B930BA8F-B9DD-4DF0-A979-AD6BD39A548D}">
      <dsp:nvSpPr>
        <dsp:cNvPr id="0" name=""/>
        <dsp:cNvSpPr/>
      </dsp:nvSpPr>
      <dsp:spPr>
        <a:xfrm>
          <a:off x="3904539" y="1865170"/>
          <a:ext cx="688340" cy="538370"/>
        </a:xfrm>
        <a:prstGeom prst="triangle">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2B2B78-C13B-459D-83D1-0B15F91473E5}">
      <dsp:nvSpPr>
        <dsp:cNvPr id="0" name=""/>
        <dsp:cNvSpPr/>
      </dsp:nvSpPr>
      <dsp:spPr>
        <a:xfrm>
          <a:off x="3592819" y="329914"/>
          <a:ext cx="1311780" cy="131178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Contacts emailed </a:t>
          </a:r>
        </a:p>
      </dsp:txBody>
      <dsp:txXfrm>
        <a:off x="3784925" y="522020"/>
        <a:ext cx="927568" cy="927568"/>
      </dsp:txXfrm>
    </dsp:sp>
    <dsp:sp modelId="{B61E1564-2AB6-4589-9DAF-284072F4532F}">
      <dsp:nvSpPr>
        <dsp:cNvPr id="0" name=""/>
        <dsp:cNvSpPr/>
      </dsp:nvSpPr>
      <dsp:spPr>
        <a:xfrm rot="5400000">
          <a:off x="5457570" y="716619"/>
          <a:ext cx="688340" cy="538370"/>
        </a:xfrm>
        <a:prstGeom prst="triangle">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81F98F1-3A2D-4D07-81F8-9340675FB6E1}">
      <dsp:nvSpPr>
        <dsp:cNvPr id="0" name=""/>
        <dsp:cNvSpPr/>
      </dsp:nvSpPr>
      <dsp:spPr>
        <a:xfrm>
          <a:off x="6668407" y="329914"/>
          <a:ext cx="1311780" cy="131178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Additional referrals received (2)</a:t>
          </a:r>
        </a:p>
      </dsp:txBody>
      <dsp:txXfrm>
        <a:off x="6860513" y="522020"/>
        <a:ext cx="927568" cy="927568"/>
      </dsp:txXfrm>
    </dsp:sp>
    <dsp:sp modelId="{6707013A-66CB-40E5-82EA-CB16DCEB058F}">
      <dsp:nvSpPr>
        <dsp:cNvPr id="0" name=""/>
        <dsp:cNvSpPr/>
      </dsp:nvSpPr>
      <dsp:spPr>
        <a:xfrm rot="10800000">
          <a:off x="6980127" y="1895644"/>
          <a:ext cx="688340" cy="538370"/>
        </a:xfrm>
        <a:prstGeom prst="triangle">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F1BAA03-6A9D-4D04-A6EB-286DDB993C56}">
      <dsp:nvSpPr>
        <dsp:cNvPr id="0" name=""/>
        <dsp:cNvSpPr/>
      </dsp:nvSpPr>
      <dsp:spPr>
        <a:xfrm>
          <a:off x="6340954" y="2657489"/>
          <a:ext cx="1966687" cy="19666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a:t>Interviews completed</a:t>
          </a:r>
        </a:p>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a:t>(8)</a:t>
          </a:r>
        </a:p>
      </dsp:txBody>
      <dsp:txXfrm>
        <a:off x="6628969" y="2945504"/>
        <a:ext cx="1390657" cy="1390657"/>
      </dsp:txXfrm>
    </dsp:sp>
  </dsp:spTree>
</dsp:drawing>
</file>

<file path=ppt/diagrams/layout1.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A29496-64A0-4714-B198-1E0B815E14EF}" type="datetimeFigureOut">
              <a:rPr lang="en-GB" smtClean="0"/>
              <a:t>05/08/2024</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E15D1D-933D-4C2D-A3C7-07BDC06F8246}" type="slidenum">
              <a:rPr lang="en-GB" smtClean="0"/>
              <a:t>‹#›</a:t>
            </a:fld>
            <a:endParaRPr lang="en-GB"/>
          </a:p>
        </p:txBody>
      </p:sp>
    </p:spTree>
    <p:extLst>
      <p:ext uri="{BB962C8B-B14F-4D97-AF65-F5344CB8AC3E}">
        <p14:creationId xmlns:p14="http://schemas.microsoft.com/office/powerpoint/2010/main" val="585021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38E484-4B09-4B25-94B2-89E97BD43660}" type="datetimeFigureOut">
              <a:rPr lang="en-GB" smtClean="0"/>
              <a:t>05/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033212-BAC2-43AB-B31C-0D17F40079B2}" type="slidenum">
              <a:rPr lang="en-GB" smtClean="0"/>
              <a:t>‹#›</a:t>
            </a:fld>
            <a:endParaRPr lang="en-GB"/>
          </a:p>
        </p:txBody>
      </p:sp>
    </p:spTree>
    <p:extLst>
      <p:ext uri="{BB962C8B-B14F-4D97-AF65-F5344CB8AC3E}">
        <p14:creationId xmlns:p14="http://schemas.microsoft.com/office/powerpoint/2010/main" val="42680500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3</a:t>
            </a:fld>
            <a:endParaRPr lang="en-GB"/>
          </a:p>
        </p:txBody>
      </p:sp>
    </p:spTree>
    <p:extLst>
      <p:ext uri="{BB962C8B-B14F-4D97-AF65-F5344CB8AC3E}">
        <p14:creationId xmlns:p14="http://schemas.microsoft.com/office/powerpoint/2010/main" val="1750829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6</a:t>
            </a:fld>
            <a:endParaRPr lang="en-GB"/>
          </a:p>
        </p:txBody>
      </p:sp>
    </p:spTree>
    <p:extLst>
      <p:ext uri="{BB962C8B-B14F-4D97-AF65-F5344CB8AC3E}">
        <p14:creationId xmlns:p14="http://schemas.microsoft.com/office/powerpoint/2010/main" val="1472449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033212-BAC2-43AB-B31C-0D17F4007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393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7342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24</a:t>
            </a:fld>
            <a:endParaRPr lang="en-GB"/>
          </a:p>
        </p:txBody>
      </p:sp>
    </p:spTree>
    <p:extLst>
      <p:ext uri="{BB962C8B-B14F-4D97-AF65-F5344CB8AC3E}">
        <p14:creationId xmlns:p14="http://schemas.microsoft.com/office/powerpoint/2010/main" val="3379906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25</a:t>
            </a:fld>
            <a:endParaRPr lang="en-GB"/>
          </a:p>
        </p:txBody>
      </p:sp>
    </p:spTree>
    <p:extLst>
      <p:ext uri="{BB962C8B-B14F-4D97-AF65-F5344CB8AC3E}">
        <p14:creationId xmlns:p14="http://schemas.microsoft.com/office/powerpoint/2010/main" val="2594295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26</a:t>
            </a:fld>
            <a:endParaRPr lang="en-GB"/>
          </a:p>
        </p:txBody>
      </p:sp>
    </p:spTree>
    <p:extLst>
      <p:ext uri="{BB962C8B-B14F-4D97-AF65-F5344CB8AC3E}">
        <p14:creationId xmlns:p14="http://schemas.microsoft.com/office/powerpoint/2010/main" val="2045133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29</a:t>
            </a:fld>
            <a:endParaRPr lang="en-GB"/>
          </a:p>
        </p:txBody>
      </p:sp>
    </p:spTree>
    <p:extLst>
      <p:ext uri="{BB962C8B-B14F-4D97-AF65-F5344CB8AC3E}">
        <p14:creationId xmlns:p14="http://schemas.microsoft.com/office/powerpoint/2010/main" val="3256034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31</a:t>
            </a:fld>
            <a:endParaRPr lang="en-GB"/>
          </a:p>
        </p:txBody>
      </p:sp>
    </p:spTree>
    <p:extLst>
      <p:ext uri="{BB962C8B-B14F-4D97-AF65-F5344CB8AC3E}">
        <p14:creationId xmlns:p14="http://schemas.microsoft.com/office/powerpoint/2010/main" val="976455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34</a:t>
            </a:fld>
            <a:endParaRPr lang="en-GB"/>
          </a:p>
        </p:txBody>
      </p:sp>
    </p:spTree>
    <p:extLst>
      <p:ext uri="{BB962C8B-B14F-4D97-AF65-F5344CB8AC3E}">
        <p14:creationId xmlns:p14="http://schemas.microsoft.com/office/powerpoint/2010/main" val="12810243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37</a:t>
            </a:fld>
            <a:endParaRPr lang="en-GB"/>
          </a:p>
        </p:txBody>
      </p:sp>
    </p:spTree>
    <p:extLst>
      <p:ext uri="{BB962C8B-B14F-4D97-AF65-F5344CB8AC3E}">
        <p14:creationId xmlns:p14="http://schemas.microsoft.com/office/powerpoint/2010/main" val="390687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033212-BAC2-43AB-B31C-0D17F4007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716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B4A55CF2-256D-44FD-9430-5B63A079CF51}" type="slidenum">
              <a:rPr kumimoji="0" lang="en-GB" sz="12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GB" sz="12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136614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7</a:t>
            </a:fld>
            <a:endParaRPr lang="en-GB"/>
          </a:p>
        </p:txBody>
      </p:sp>
    </p:spTree>
    <p:extLst>
      <p:ext uri="{BB962C8B-B14F-4D97-AF65-F5344CB8AC3E}">
        <p14:creationId xmlns:p14="http://schemas.microsoft.com/office/powerpoint/2010/main" val="387648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1</a:t>
            </a:fld>
            <a:endParaRPr lang="en-GB"/>
          </a:p>
        </p:txBody>
      </p:sp>
    </p:spTree>
    <p:extLst>
      <p:ext uri="{BB962C8B-B14F-4D97-AF65-F5344CB8AC3E}">
        <p14:creationId xmlns:p14="http://schemas.microsoft.com/office/powerpoint/2010/main" val="1741002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2</a:t>
            </a:fld>
            <a:endParaRPr lang="en-GB"/>
          </a:p>
        </p:txBody>
      </p:sp>
    </p:spTree>
    <p:extLst>
      <p:ext uri="{BB962C8B-B14F-4D97-AF65-F5344CB8AC3E}">
        <p14:creationId xmlns:p14="http://schemas.microsoft.com/office/powerpoint/2010/main" val="142696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3</a:t>
            </a:fld>
            <a:endParaRPr lang="en-GB"/>
          </a:p>
        </p:txBody>
      </p:sp>
    </p:spTree>
    <p:extLst>
      <p:ext uri="{BB962C8B-B14F-4D97-AF65-F5344CB8AC3E}">
        <p14:creationId xmlns:p14="http://schemas.microsoft.com/office/powerpoint/2010/main" val="145462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4</a:t>
            </a:fld>
            <a:endParaRPr lang="en-GB"/>
          </a:p>
        </p:txBody>
      </p:sp>
    </p:spTree>
    <p:extLst>
      <p:ext uri="{BB962C8B-B14F-4D97-AF65-F5344CB8AC3E}">
        <p14:creationId xmlns:p14="http://schemas.microsoft.com/office/powerpoint/2010/main" val="81932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2033212-BAC2-43AB-B31C-0D17F40079B2}" type="slidenum">
              <a:rPr lang="en-GB" smtClean="0"/>
              <a:t>15</a:t>
            </a:fld>
            <a:endParaRPr lang="en-GB"/>
          </a:p>
        </p:txBody>
      </p:sp>
    </p:spTree>
    <p:extLst>
      <p:ext uri="{BB962C8B-B14F-4D97-AF65-F5344CB8AC3E}">
        <p14:creationId xmlns:p14="http://schemas.microsoft.com/office/powerpoint/2010/main" val="41916785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3.jpe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8494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ur values">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1210" y="539319"/>
            <a:ext cx="6385130" cy="5861481"/>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143364" y="857609"/>
            <a:ext cx="6748857" cy="1743607"/>
          </a:xfrm>
          <a:prstGeom prst="rect">
            <a:avLst/>
          </a:prstGeom>
        </p:spPr>
      </p:pic>
      <p:sp>
        <p:nvSpPr>
          <p:cNvPr id="11" name="TextBox 10">
            <a:extLst>
              <a:ext uri="{FF2B5EF4-FFF2-40B4-BE49-F238E27FC236}">
                <a16:creationId xmlns:a16="http://schemas.microsoft.com/office/drawing/2014/main" id="{99B3FE21-A37A-4765-83AE-D30D2D3E47D0}"/>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9840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1</a:t>
            </a:r>
          </a:p>
        </p:txBody>
      </p:sp>
      <p:sp>
        <p:nvSpPr>
          <p:cNvPr id="3" name="Text Placeholder 2"/>
          <p:cNvSpPr>
            <a:spLocks noGrp="1"/>
          </p:cNvSpPr>
          <p:nvPr>
            <p:ph type="body" idx="1" hasCustomPrompt="1"/>
          </p:nvPr>
        </p:nvSpPr>
        <p:spPr>
          <a:xfrm>
            <a:off x="465373" y="1681163"/>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0" name="Rectangle 9"/>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p:cNvCxnSpPr>
            <a:cxnSpLocks/>
          </p:cNvCxnSpPr>
          <p:nvPr userDrawn="1"/>
        </p:nvCxnSpPr>
        <p:spPr>
          <a:xfrm>
            <a:off x="387430" y="6549083"/>
            <a:ext cx="11275483" cy="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2" name="Text Placeholder 2"/>
          <p:cNvSpPr>
            <a:spLocks noGrp="1"/>
          </p:cNvSpPr>
          <p:nvPr>
            <p:ph type="body" idx="16" hasCustomPrompt="1"/>
          </p:nvPr>
        </p:nvSpPr>
        <p:spPr>
          <a:xfrm>
            <a:off x="465373" y="2463258"/>
            <a:ext cx="3968280" cy="2761974"/>
          </a:xfrm>
        </p:spPr>
        <p:txBody>
          <a:bodyPr anchor="t">
            <a:normAutofit/>
          </a:bodyPr>
          <a:lstStyle>
            <a:lvl1pPr marL="0" indent="0">
              <a:buNone/>
              <a:defRPr sz="1800" b="0">
                <a:solidFill>
                  <a:srgbClr val="41424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5" name="Text Placeholder 2"/>
          <p:cNvSpPr>
            <a:spLocks noGrp="1"/>
          </p:cNvSpPr>
          <p:nvPr>
            <p:ph type="body" idx="17" hasCustomPrompt="1"/>
          </p:nvPr>
        </p:nvSpPr>
        <p:spPr>
          <a:xfrm>
            <a:off x="5019990" y="1681163"/>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
        <p:nvSpPr>
          <p:cNvPr id="18" name="Text Placeholder 2"/>
          <p:cNvSpPr>
            <a:spLocks noGrp="1"/>
          </p:cNvSpPr>
          <p:nvPr>
            <p:ph type="body" idx="18" hasCustomPrompt="1"/>
          </p:nvPr>
        </p:nvSpPr>
        <p:spPr>
          <a:xfrm>
            <a:off x="5019990" y="2463258"/>
            <a:ext cx="3968280" cy="2761974"/>
          </a:xfrm>
        </p:spPr>
        <p:txBody>
          <a:bodyPr anchor="t">
            <a:normAutofit/>
          </a:bodyPr>
          <a:lstStyle>
            <a:lvl1pPr marL="0" indent="0">
              <a:buNone/>
              <a:defRPr sz="1800" b="0">
                <a:solidFill>
                  <a:srgbClr val="41424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
        <p:nvSpPr>
          <p:cNvPr id="14" name="TextBox 13">
            <a:extLst>
              <a:ext uri="{FF2B5EF4-FFF2-40B4-BE49-F238E27FC236}">
                <a16:creationId xmlns:a16="http://schemas.microsoft.com/office/drawing/2014/main" id="{0789F26F-5F42-4D73-83EB-7E483155C19C}"/>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9801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lide 2 - agenda</a:t>
            </a:r>
          </a:p>
        </p:txBody>
      </p:sp>
      <p:sp>
        <p:nvSpPr>
          <p:cNvPr id="10" name="Rectangle 9"/>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p:cNvCxnSpPr>
            <a:cxnSpLocks/>
          </p:cNvCxnSpPr>
          <p:nvPr userDrawn="1"/>
        </p:nvCxnSpPr>
        <p:spPr>
          <a:xfrm>
            <a:off x="387430" y="6549083"/>
            <a:ext cx="11301362" cy="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3C1583-6651-4424-A456-8E5298443C20}"/>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5660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portant statistics or key point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918200" y="936637"/>
            <a:ext cx="6261100" cy="5690715"/>
          </a:xfrm>
          <a:prstGeom prst="rect">
            <a:avLst/>
          </a:prstGeom>
        </p:spPr>
      </p:pic>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Important statistics or key points</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0" name="TextBox 9">
            <a:extLst>
              <a:ext uri="{FF2B5EF4-FFF2-40B4-BE49-F238E27FC236}">
                <a16:creationId xmlns:a16="http://schemas.microsoft.com/office/drawing/2014/main" id="{8361E1CB-4E8B-4A21-BFA6-C97553FE2C34}"/>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9959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an image">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1</a:t>
            </a:r>
          </a:p>
        </p:txBody>
      </p:sp>
      <p:sp>
        <p:nvSpPr>
          <p:cNvPr id="15" name="Text Placeholder 2"/>
          <p:cNvSpPr>
            <a:spLocks noGrp="1"/>
          </p:cNvSpPr>
          <p:nvPr>
            <p:ph type="body" idx="1" hasCustomPrompt="1"/>
          </p:nvPr>
        </p:nvSpPr>
        <p:spPr>
          <a:xfrm>
            <a:off x="465372" y="1681162"/>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20" name="Online Image Placeholder 19"/>
          <p:cNvSpPr>
            <a:spLocks noGrp="1"/>
          </p:cNvSpPr>
          <p:nvPr>
            <p:ph type="clipArt" sz="quarter" idx="15"/>
          </p:nvPr>
        </p:nvSpPr>
        <p:spPr>
          <a:xfrm>
            <a:off x="5909586" y="1681162"/>
            <a:ext cx="4630737" cy="3544069"/>
          </a:xfrm>
        </p:spPr>
        <p:txBody>
          <a:bodyPr/>
          <a:lstStyle/>
          <a:p>
            <a:endParaRPr lang="en-GB"/>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1" name="Text Placeholder 2"/>
          <p:cNvSpPr>
            <a:spLocks noGrp="1"/>
          </p:cNvSpPr>
          <p:nvPr>
            <p:ph type="body" idx="16" hasCustomPrompt="1"/>
          </p:nvPr>
        </p:nvSpPr>
        <p:spPr>
          <a:xfrm>
            <a:off x="465373" y="2463258"/>
            <a:ext cx="3968280" cy="2761974"/>
          </a:xfrm>
        </p:spPr>
        <p:txBody>
          <a:bodyPr anchor="t">
            <a:normAutofit/>
          </a:bodyPr>
          <a:lstStyle>
            <a:lvl1pPr marL="0" indent="0">
              <a:buNone/>
              <a:defRPr sz="1800" b="0">
                <a:solidFill>
                  <a:schemeClr val="bg2">
                    <a:lumMod val="25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3" name="TextBox 12">
            <a:extLst>
              <a:ext uri="{FF2B5EF4-FFF2-40B4-BE49-F238E27FC236}">
                <a16:creationId xmlns:a16="http://schemas.microsoft.com/office/drawing/2014/main" id="{A409F26B-4305-473E-9EB2-FC0E85ECB886}"/>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67423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15567"/>
            <a:ext cx="12611700" cy="1804990"/>
          </a:xfrm>
          <a:prstGeom prst="rect">
            <a:avLst/>
          </a:prstGeom>
        </p:spPr>
      </p:pic>
      <p:sp>
        <p:nvSpPr>
          <p:cNvPr id="17"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with a table</a:t>
            </a:r>
          </a:p>
        </p:txBody>
      </p:sp>
      <p:sp>
        <p:nvSpPr>
          <p:cNvPr id="3" name="Text Placeholder 2"/>
          <p:cNvSpPr>
            <a:spLocks noGrp="1"/>
          </p:cNvSpPr>
          <p:nvPr>
            <p:ph type="body" sz="quarter" idx="10" hasCustomPrompt="1"/>
          </p:nvPr>
        </p:nvSpPr>
        <p:spPr>
          <a:xfrm>
            <a:off x="465372" y="2519363"/>
            <a:ext cx="3509962" cy="354677"/>
          </a:xfrm>
        </p:spPr>
        <p:txBody>
          <a:bodyPr>
            <a:normAutofit/>
          </a:bodyPr>
          <a:lstStyle>
            <a:lvl1pPr marL="0" indent="0">
              <a:buNone/>
              <a:defRPr sz="2000">
                <a:solidFill>
                  <a:srgbClr val="9C1521"/>
                </a:solidFill>
                <a:latin typeface="Arial" panose="020B0604020202020204" pitchFamily="34" charset="0"/>
                <a:cs typeface="Arial" panose="020B0604020202020204" pitchFamily="34" charset="0"/>
              </a:defRPr>
            </a:lvl1pPr>
          </a:lstStyle>
          <a:p>
            <a:pPr lvl="0"/>
            <a:r>
              <a:rPr lang="en-US"/>
              <a:t>Table 1: key outputs</a:t>
            </a:r>
            <a:endParaRPr lang="en-GB"/>
          </a:p>
        </p:txBody>
      </p:sp>
      <p:sp>
        <p:nvSpPr>
          <p:cNvPr id="6" name="TextBox 5">
            <a:extLst>
              <a:ext uri="{FF2B5EF4-FFF2-40B4-BE49-F238E27FC236}">
                <a16:creationId xmlns:a16="http://schemas.microsoft.com/office/drawing/2014/main" id="{DB2516C1-DCA0-4AE5-B82E-48B23BF5DA4F}"/>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6526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formation with computer">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oject title</a:t>
            </a:r>
          </a:p>
        </p:txBody>
      </p:sp>
      <p:sp>
        <p:nvSpPr>
          <p:cNvPr id="15" name="Text Placeholder 2"/>
          <p:cNvSpPr>
            <a:spLocks noGrp="1"/>
          </p:cNvSpPr>
          <p:nvPr>
            <p:ph type="body" idx="1" hasCustomPrompt="1"/>
          </p:nvPr>
        </p:nvSpPr>
        <p:spPr>
          <a:xfrm>
            <a:off x="465372" y="1039059"/>
            <a:ext cx="3968280" cy="490537"/>
          </a:xfrm>
        </p:spPr>
        <p:txBody>
          <a:bodyPr anchor="b">
            <a:normAutofit/>
          </a:bodyPr>
          <a:lstStyle>
            <a:lvl1pPr marL="0" indent="0">
              <a:buNone/>
              <a:defRPr sz="28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79014" y="2193026"/>
            <a:ext cx="5392072" cy="2808051"/>
          </a:xfrm>
          <a:prstGeom prst="rect">
            <a:avLst/>
          </a:prstGeom>
        </p:spPr>
      </p:pic>
      <p:sp>
        <p:nvSpPr>
          <p:cNvPr id="20" name="Online Image Placeholder 19"/>
          <p:cNvSpPr>
            <a:spLocks noGrp="1"/>
          </p:cNvSpPr>
          <p:nvPr>
            <p:ph type="clipArt" sz="quarter" idx="15"/>
          </p:nvPr>
        </p:nvSpPr>
        <p:spPr>
          <a:xfrm>
            <a:off x="6894286" y="2351314"/>
            <a:ext cx="4339771" cy="2278743"/>
          </a:xfrm>
        </p:spPr>
        <p:txBody>
          <a:bodyPr/>
          <a:lstStyle/>
          <a:p>
            <a:endParaRPr lang="en-GB"/>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1" name="Text Placeholder 2"/>
          <p:cNvSpPr>
            <a:spLocks noGrp="1"/>
          </p:cNvSpPr>
          <p:nvPr>
            <p:ph type="body" idx="16" hasCustomPrompt="1"/>
          </p:nvPr>
        </p:nvSpPr>
        <p:spPr>
          <a:xfrm>
            <a:off x="465372" y="2216064"/>
            <a:ext cx="3968280" cy="2761974"/>
          </a:xfrm>
        </p:spPr>
        <p:txBody>
          <a:bodyPr anchor="t">
            <a:normAutofit/>
          </a:bodyPr>
          <a:lstStyle>
            <a:lvl1pPr marL="0" indent="0">
              <a:buNone/>
              <a:defRPr sz="2000" b="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6" name="TextBox 15">
            <a:extLst>
              <a:ext uri="{FF2B5EF4-FFF2-40B4-BE49-F238E27FC236}">
                <a16:creationId xmlns:a16="http://schemas.microsoft.com/office/drawing/2014/main" id="{1EF9D7C4-2858-447F-98B5-68A93A8AE65D}"/>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62577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918200" y="936637"/>
            <a:ext cx="6261100" cy="5690715"/>
          </a:xfrm>
          <a:prstGeom prst="rect">
            <a:avLst/>
          </a:prstGeom>
        </p:spPr>
      </p:pic>
      <p:sp>
        <p:nvSpPr>
          <p:cNvPr id="7" name="TextBox 6"/>
          <p:cNvSpPr txBox="1"/>
          <p:nvPr userDrawn="1"/>
        </p:nvSpPr>
        <p:spPr>
          <a:xfrm>
            <a:off x="466960" y="539979"/>
            <a:ext cx="7302110" cy="584775"/>
          </a:xfrm>
          <a:prstGeom prst="rect">
            <a:avLst/>
          </a:prstGeom>
          <a:noFill/>
        </p:spPr>
        <p:txBody>
          <a:bodyPr wrap="square" rtlCol="0">
            <a:spAutoFit/>
          </a:bodyPr>
          <a:lstStyle/>
          <a:p>
            <a:r>
              <a:rPr lang="en-GB" sz="3200" b="1">
                <a:solidFill>
                  <a:srgbClr val="9C1420"/>
                </a:solidFill>
                <a:latin typeface="Arial" panose="020B0604020202020204" pitchFamily="34" charset="0"/>
                <a:cs typeface="Arial" panose="020B0604020202020204" pitchFamily="34" charset="0"/>
              </a:rPr>
              <a:t>Project timeline</a:t>
            </a:r>
          </a:p>
        </p:txBody>
      </p:sp>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0" name="TextBox 9">
            <a:extLst>
              <a:ext uri="{FF2B5EF4-FFF2-40B4-BE49-F238E27FC236}">
                <a16:creationId xmlns:a16="http://schemas.microsoft.com/office/drawing/2014/main" id="{98D7401B-2CA0-46D1-AEF9-78F2904440C3}"/>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4240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portant stat ">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title</a:t>
            </a:r>
          </a:p>
        </p:txBody>
      </p:sp>
      <p:sp>
        <p:nvSpPr>
          <p:cNvPr id="15" name="Text Placeholder 2"/>
          <p:cNvSpPr>
            <a:spLocks noGrp="1"/>
          </p:cNvSpPr>
          <p:nvPr>
            <p:ph type="body" idx="1" hasCustomPrompt="1"/>
          </p:nvPr>
        </p:nvSpPr>
        <p:spPr>
          <a:xfrm>
            <a:off x="465372" y="1073592"/>
            <a:ext cx="3968280" cy="490537"/>
          </a:xfrm>
        </p:spPr>
        <p:txBody>
          <a:bodyPr anchor="b">
            <a:normAutofit/>
          </a:bodyPr>
          <a:lstStyle>
            <a:lvl1pPr marL="0" indent="0">
              <a:buNone/>
              <a:defRPr sz="28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a:t>
            </a: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4094" y="0"/>
            <a:ext cx="8680606" cy="6858000"/>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72232" y="303247"/>
            <a:ext cx="1163136" cy="627703"/>
          </a:xfrm>
          <a:prstGeom prst="rect">
            <a:avLst/>
          </a:prstGeom>
        </p:spPr>
      </p:pic>
      <p:sp>
        <p:nvSpPr>
          <p:cNvPr id="28" name="Text Placeholder 2"/>
          <p:cNvSpPr>
            <a:spLocks noGrp="1"/>
          </p:cNvSpPr>
          <p:nvPr>
            <p:ph type="body" idx="18" hasCustomPrompt="1"/>
          </p:nvPr>
        </p:nvSpPr>
        <p:spPr>
          <a:xfrm>
            <a:off x="7385520" y="2115495"/>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29" name="Text Placeholder 2"/>
          <p:cNvSpPr>
            <a:spLocks noGrp="1"/>
          </p:cNvSpPr>
          <p:nvPr>
            <p:ph type="body" idx="19" hasCustomPrompt="1"/>
          </p:nvPr>
        </p:nvSpPr>
        <p:spPr>
          <a:xfrm>
            <a:off x="7385520" y="2565735"/>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0" name="Text Placeholder 2"/>
          <p:cNvSpPr>
            <a:spLocks noGrp="1"/>
          </p:cNvSpPr>
          <p:nvPr>
            <p:ph type="body" idx="20" hasCustomPrompt="1"/>
          </p:nvPr>
        </p:nvSpPr>
        <p:spPr>
          <a:xfrm>
            <a:off x="7385520" y="3340998"/>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1" name="Text Placeholder 2"/>
          <p:cNvSpPr>
            <a:spLocks noGrp="1"/>
          </p:cNvSpPr>
          <p:nvPr>
            <p:ph type="body" idx="21" hasCustomPrompt="1"/>
          </p:nvPr>
        </p:nvSpPr>
        <p:spPr>
          <a:xfrm>
            <a:off x="7385520" y="3791238"/>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2" name="Text Placeholder 2"/>
          <p:cNvSpPr>
            <a:spLocks noGrp="1"/>
          </p:cNvSpPr>
          <p:nvPr>
            <p:ph type="body" idx="22" hasCustomPrompt="1"/>
          </p:nvPr>
        </p:nvSpPr>
        <p:spPr>
          <a:xfrm>
            <a:off x="7385520" y="4649259"/>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3" name="Text Placeholder 2"/>
          <p:cNvSpPr>
            <a:spLocks noGrp="1"/>
          </p:cNvSpPr>
          <p:nvPr>
            <p:ph type="body" idx="23" hasCustomPrompt="1"/>
          </p:nvPr>
        </p:nvSpPr>
        <p:spPr>
          <a:xfrm>
            <a:off x="7385520" y="5099499"/>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cxnSp>
        <p:nvCxnSpPr>
          <p:cNvPr id="34" name="Straight Connector 33"/>
          <p:cNvCxnSpPr/>
          <p:nvPr userDrawn="1"/>
        </p:nvCxnSpPr>
        <p:spPr>
          <a:xfrm flipV="1">
            <a:off x="7385520" y="3193762"/>
            <a:ext cx="3968280" cy="32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p:cNvCxnSpPr/>
          <p:nvPr userDrawn="1"/>
        </p:nvCxnSpPr>
        <p:spPr>
          <a:xfrm flipV="1">
            <a:off x="7385520" y="4506412"/>
            <a:ext cx="3968280" cy="32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2"/>
          <p:cNvSpPr>
            <a:spLocks noGrp="1"/>
          </p:cNvSpPr>
          <p:nvPr>
            <p:ph type="body" idx="16" hasCustomPrompt="1"/>
          </p:nvPr>
        </p:nvSpPr>
        <p:spPr>
          <a:xfrm>
            <a:off x="465372" y="2216064"/>
            <a:ext cx="3968280" cy="2761974"/>
          </a:xfrm>
        </p:spPr>
        <p:txBody>
          <a:bodyPr anchor="t">
            <a:normAutofit/>
          </a:bodyPr>
          <a:lstStyle>
            <a:lvl1pPr marL="0" indent="0">
              <a:buNone/>
              <a:defRPr sz="20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p:txBody>
      </p:sp>
      <p:sp>
        <p:nvSpPr>
          <p:cNvPr id="16" name="TextBox 15">
            <a:extLst>
              <a:ext uri="{FF2B5EF4-FFF2-40B4-BE49-F238E27FC236}">
                <a16:creationId xmlns:a16="http://schemas.microsoft.com/office/drawing/2014/main" id="{EC93B00A-2F49-456E-A056-577E80177C4F}"/>
              </a:ext>
            </a:extLst>
          </p:cNvPr>
          <p:cNvSpPr txBox="1"/>
          <p:nvPr userDrawn="1"/>
        </p:nvSpPr>
        <p:spPr>
          <a:xfrm>
            <a:off x="139855" y="6434764"/>
            <a:ext cx="383706"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2311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jectives slide">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322372" y="2816121"/>
            <a:ext cx="0" cy="2530579"/>
          </a:xfrm>
          <a:prstGeom prst="line">
            <a:avLst/>
          </a:prstGeom>
          <a:ln>
            <a:solidFill>
              <a:srgbClr val="414042"/>
            </a:solidFill>
            <a:prstDash val="dash"/>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16" hasCustomPrompt="1"/>
          </p:nvPr>
        </p:nvSpPr>
        <p:spPr>
          <a:xfrm>
            <a:off x="4322372" y="2816121"/>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2</a:t>
            </a:r>
          </a:p>
        </p:txBody>
      </p:sp>
      <p:sp>
        <p:nvSpPr>
          <p:cNvPr id="18" name="Text Placeholder 2"/>
          <p:cNvSpPr>
            <a:spLocks noGrp="1"/>
          </p:cNvSpPr>
          <p:nvPr>
            <p:ph type="body" sz="quarter" idx="17" hasCustomPrompt="1"/>
          </p:nvPr>
        </p:nvSpPr>
        <p:spPr>
          <a:xfrm>
            <a:off x="1083701" y="2816120"/>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1</a:t>
            </a:r>
          </a:p>
        </p:txBody>
      </p:sp>
      <p:sp>
        <p:nvSpPr>
          <p:cNvPr id="19" name="Text Placeholder 2"/>
          <p:cNvSpPr>
            <a:spLocks noGrp="1"/>
          </p:cNvSpPr>
          <p:nvPr>
            <p:ph type="body" sz="quarter" idx="18" hasCustomPrompt="1"/>
          </p:nvPr>
        </p:nvSpPr>
        <p:spPr>
          <a:xfrm>
            <a:off x="7560587" y="2816120"/>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3</a:t>
            </a:r>
          </a:p>
        </p:txBody>
      </p:sp>
      <p:cxnSp>
        <p:nvCxnSpPr>
          <p:cNvPr id="22" name="Straight Connector 21"/>
          <p:cNvCxnSpPr/>
          <p:nvPr userDrawn="1"/>
        </p:nvCxnSpPr>
        <p:spPr>
          <a:xfrm>
            <a:off x="7560587" y="2816120"/>
            <a:ext cx="0" cy="2530579"/>
          </a:xfrm>
          <a:prstGeom prst="line">
            <a:avLst/>
          </a:prstGeom>
          <a:ln>
            <a:solidFill>
              <a:srgbClr val="414042"/>
            </a:solidFill>
            <a:prstDash val="dash"/>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oject title</a:t>
            </a:r>
          </a:p>
        </p:txBody>
      </p:sp>
      <p:sp>
        <p:nvSpPr>
          <p:cNvPr id="30" name="Text Placeholder 29"/>
          <p:cNvSpPr>
            <a:spLocks noGrp="1"/>
          </p:cNvSpPr>
          <p:nvPr>
            <p:ph type="body" sz="quarter" idx="22" hasCustomPrompt="1"/>
          </p:nvPr>
        </p:nvSpPr>
        <p:spPr>
          <a:xfrm>
            <a:off x="387430" y="6054210"/>
            <a:ext cx="8600995" cy="355600"/>
          </a:xfrm>
        </p:spPr>
        <p:txBody>
          <a:bodyPr>
            <a:normAutofit/>
          </a:bodyPr>
          <a:lstStyle>
            <a:lvl1pPr marL="0" indent="0">
              <a:buNone/>
              <a:defRPr sz="2000" baseline="0">
                <a:solidFill>
                  <a:schemeClr val="bg2">
                    <a:lumMod val="50000"/>
                  </a:schemeClr>
                </a:solidFill>
                <a:latin typeface="Arial" panose="020B0604020202020204" pitchFamily="34" charset="0"/>
                <a:cs typeface="Arial" panose="020B0604020202020204" pitchFamily="34" charset="0"/>
              </a:defRPr>
            </a:lvl1pPr>
          </a:lstStyle>
          <a:p>
            <a:pPr lvl="0"/>
            <a:r>
              <a:rPr lang="en-US"/>
              <a:t>Insert text here which sums up your slide and acts as a key message</a:t>
            </a:r>
            <a:endParaRPr lang="en-GB"/>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21" name="Text Placeholder 2"/>
          <p:cNvSpPr>
            <a:spLocks noGrp="1"/>
          </p:cNvSpPr>
          <p:nvPr>
            <p:ph type="body" idx="23" hasCustomPrompt="1"/>
          </p:nvPr>
        </p:nvSpPr>
        <p:spPr>
          <a:xfrm>
            <a:off x="465372" y="1328814"/>
            <a:ext cx="10888428" cy="902007"/>
          </a:xfrm>
        </p:spPr>
        <p:txBody>
          <a:bodyPr anchor="t">
            <a:norm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More information in this box</a:t>
            </a:r>
          </a:p>
          <a:p>
            <a:pPr lvl="0"/>
            <a:endParaRPr lang="en-US"/>
          </a:p>
        </p:txBody>
      </p:sp>
      <p:sp>
        <p:nvSpPr>
          <p:cNvPr id="25" name="Text Placeholder 2"/>
          <p:cNvSpPr>
            <a:spLocks noGrp="1"/>
          </p:cNvSpPr>
          <p:nvPr>
            <p:ph type="body" idx="24" hasCustomPrompt="1"/>
          </p:nvPr>
        </p:nvSpPr>
        <p:spPr>
          <a:xfrm>
            <a:off x="1083701" y="3342018"/>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26" name="Text Placeholder 2"/>
          <p:cNvSpPr>
            <a:spLocks noGrp="1"/>
          </p:cNvSpPr>
          <p:nvPr>
            <p:ph type="body" idx="25" hasCustomPrompt="1"/>
          </p:nvPr>
        </p:nvSpPr>
        <p:spPr>
          <a:xfrm>
            <a:off x="4321915" y="3342017"/>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27" name="Text Placeholder 2"/>
          <p:cNvSpPr>
            <a:spLocks noGrp="1"/>
          </p:cNvSpPr>
          <p:nvPr>
            <p:ph type="body" idx="26" hasCustomPrompt="1"/>
          </p:nvPr>
        </p:nvSpPr>
        <p:spPr>
          <a:xfrm>
            <a:off x="7560587" y="3342016"/>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20" name="TextBox 19">
            <a:extLst>
              <a:ext uri="{FF2B5EF4-FFF2-40B4-BE49-F238E27FC236}">
                <a16:creationId xmlns:a16="http://schemas.microsoft.com/office/drawing/2014/main" id="{428D6C51-EA87-4B87-A53B-C7D8F467610E}"/>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1327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16" name="Picture 1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710402"/>
            <a:ext cx="12192000" cy="8619202"/>
          </a:xfrm>
          <a:prstGeom prst="rect">
            <a:avLst/>
          </a:prstGeom>
        </p:spPr>
      </p:pic>
    </p:spTree>
    <p:extLst>
      <p:ext uri="{BB962C8B-B14F-4D97-AF65-F5344CB8AC3E}">
        <p14:creationId xmlns:p14="http://schemas.microsoft.com/office/powerpoint/2010/main" val="1400440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aboration slide">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Collaboration slide</a:t>
            </a:r>
          </a:p>
        </p:txBody>
      </p:sp>
      <p:sp>
        <p:nvSpPr>
          <p:cNvPr id="30" name="Text Placeholder 29"/>
          <p:cNvSpPr>
            <a:spLocks noGrp="1"/>
          </p:cNvSpPr>
          <p:nvPr>
            <p:ph type="body" sz="quarter" idx="22" hasCustomPrompt="1"/>
          </p:nvPr>
        </p:nvSpPr>
        <p:spPr>
          <a:xfrm>
            <a:off x="387430" y="6054210"/>
            <a:ext cx="8600995" cy="355600"/>
          </a:xfrm>
        </p:spPr>
        <p:txBody>
          <a:bodyPr>
            <a:normAutofit/>
          </a:bodyPr>
          <a:lstStyle>
            <a:lvl1pPr marL="0" indent="0">
              <a:buNone/>
              <a:defRPr sz="2000" baseline="0">
                <a:solidFill>
                  <a:schemeClr val="bg2">
                    <a:lumMod val="50000"/>
                  </a:schemeClr>
                </a:solidFill>
                <a:latin typeface="Arial" panose="020B0604020202020204" pitchFamily="34" charset="0"/>
                <a:cs typeface="Arial" panose="020B0604020202020204" pitchFamily="34" charset="0"/>
              </a:defRPr>
            </a:lvl1pPr>
          </a:lstStyle>
          <a:p>
            <a:pPr lvl="0"/>
            <a:r>
              <a:rPr lang="en-US"/>
              <a:t>Insert text here which sums up your slide and acts as a key message</a:t>
            </a:r>
            <a:endParaRPr lang="en-GB"/>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0" name="Text Placeholder 2"/>
          <p:cNvSpPr>
            <a:spLocks noGrp="1"/>
          </p:cNvSpPr>
          <p:nvPr>
            <p:ph type="body" idx="26" hasCustomPrompt="1"/>
          </p:nvPr>
        </p:nvSpPr>
        <p:spPr>
          <a:xfrm>
            <a:off x="7229510" y="2049696"/>
            <a:ext cx="3475275"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1" name="TextBox 10">
            <a:extLst>
              <a:ext uri="{FF2B5EF4-FFF2-40B4-BE49-F238E27FC236}">
                <a16:creationId xmlns:a16="http://schemas.microsoft.com/office/drawing/2014/main" id="{F2929A7E-EBB2-4B73-AF63-121230F9E04F}"/>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78370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Key messages</a:t>
            </a:r>
          </a:p>
        </p:txBody>
      </p:sp>
      <p:sp>
        <p:nvSpPr>
          <p:cNvPr id="3" name="Text Placeholder 2"/>
          <p:cNvSpPr>
            <a:spLocks noGrp="1"/>
          </p:cNvSpPr>
          <p:nvPr>
            <p:ph type="body" sz="quarter" idx="23" hasCustomPrompt="1"/>
          </p:nvPr>
        </p:nvSpPr>
        <p:spPr>
          <a:xfrm>
            <a:off x="465138" y="1625600"/>
            <a:ext cx="10888662" cy="3657600"/>
          </a:xfr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3300" b="0" baseline="0">
                <a:solidFill>
                  <a:schemeClr val="bg2">
                    <a:lumMod val="50000"/>
                  </a:schemeClr>
                </a:solidFill>
                <a:latin typeface="Arial" panose="020B0604020202020204" pitchFamily="34" charset="0"/>
                <a:cs typeface="Arial" panose="020B0604020202020204" pitchFamily="34" charset="0"/>
              </a:defRPr>
            </a:lvl1pPr>
          </a:lstStyle>
          <a:p>
            <a:pPr lvl="0"/>
            <a:r>
              <a:rPr lang="en-US"/>
              <a:t>Round up your slides with key messages</a:t>
            </a:r>
          </a:p>
          <a:p>
            <a:pPr lvl="0"/>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Examples could be focusing on collabor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Keep your messages brief and to the point</a:t>
            </a:r>
          </a:p>
          <a:p>
            <a:pPr lvl="0"/>
            <a:endParaRPr lang="en-US"/>
          </a:p>
        </p:txBody>
      </p:sp>
      <p:sp>
        <p:nvSpPr>
          <p:cNvPr id="10" name="TextBox 9">
            <a:extLst>
              <a:ext uri="{FF2B5EF4-FFF2-40B4-BE49-F238E27FC236}">
                <a16:creationId xmlns:a16="http://schemas.microsoft.com/office/drawing/2014/main" id="{E7E335CA-E730-4DC6-8990-E73E481547A2}"/>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4328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lternative slide layout">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6912"/>
            <a:ext cx="12611700" cy="1804990"/>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Alternative slide layout</a:t>
            </a:r>
          </a:p>
        </p:txBody>
      </p:sp>
      <p:sp>
        <p:nvSpPr>
          <p:cNvPr id="16" name="Text Placeholder 2"/>
          <p:cNvSpPr>
            <a:spLocks noGrp="1"/>
          </p:cNvSpPr>
          <p:nvPr>
            <p:ph type="body" idx="14" hasCustomPrompt="1"/>
          </p:nvPr>
        </p:nvSpPr>
        <p:spPr>
          <a:xfrm>
            <a:off x="465373" y="2463258"/>
            <a:ext cx="4759770" cy="2070642"/>
          </a:xfrm>
        </p:spPr>
        <p:txBody>
          <a:bodyPr anchor="t">
            <a:normAutofit/>
          </a:bodyPr>
          <a:lstStyle>
            <a:lvl1pPr marL="0" indent="0">
              <a:buNone/>
              <a:defRPr sz="2000" b="0">
                <a:solidFill>
                  <a:schemeClr val="bg2">
                    <a:lumMod val="50000"/>
                  </a:schemeClr>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Subtext about point number 2. Lorem ipsum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dolo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si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me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nsectetu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dipiscing</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li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se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do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iusmo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tempo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incididun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labore</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dolore</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magna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liqua</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nim</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d minim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veniam</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quis</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nostru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xercitation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llamco</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laboris</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nisi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liquip</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x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a</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mmodo</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nsequa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8" name="TextBox 7">
            <a:extLst>
              <a:ext uri="{FF2B5EF4-FFF2-40B4-BE49-F238E27FC236}">
                <a16:creationId xmlns:a16="http://schemas.microsoft.com/office/drawing/2014/main" id="{4FC03AA8-4529-4A02-BC50-FC617E0093EE}"/>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1147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4" y="2617624"/>
            <a:ext cx="12337143" cy="4421805"/>
          </a:xfrm>
          <a:prstGeom prst="rect">
            <a:avLst/>
          </a:prstGeom>
        </p:spPr>
      </p:pic>
      <p:sp>
        <p:nvSpPr>
          <p:cNvPr id="8" name="Title 1"/>
          <p:cNvSpPr>
            <a:spLocks noGrp="1"/>
          </p:cNvSpPr>
          <p:nvPr>
            <p:ph type="title" hasCustomPrompt="1"/>
          </p:nvPr>
        </p:nvSpPr>
        <p:spPr>
          <a:xfrm>
            <a:off x="465138" y="680284"/>
            <a:ext cx="11041062"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ymbols to illustrate key points</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82200" y="517931"/>
            <a:ext cx="1811496" cy="835880"/>
          </a:xfrm>
          <a:prstGeom prst="rect">
            <a:avLst/>
          </a:prstGeom>
        </p:spPr>
      </p:pic>
      <p:sp>
        <p:nvSpPr>
          <p:cNvPr id="10" name="Text Placeholder 2"/>
          <p:cNvSpPr>
            <a:spLocks noGrp="1"/>
          </p:cNvSpPr>
          <p:nvPr>
            <p:ph type="body" sz="quarter" idx="23" hasCustomPrompt="1"/>
          </p:nvPr>
        </p:nvSpPr>
        <p:spPr>
          <a:xfrm>
            <a:off x="465138" y="1625600"/>
            <a:ext cx="10888662" cy="3041650"/>
          </a:xfr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3300" b="0" baseline="0">
                <a:solidFill>
                  <a:schemeClr val="bg2">
                    <a:lumMod val="50000"/>
                  </a:schemeClr>
                </a:solidFill>
                <a:latin typeface="Arial" panose="020B0604020202020204" pitchFamily="34" charset="0"/>
                <a:cs typeface="Arial" panose="020B0604020202020204" pitchFamily="34" charset="0"/>
              </a:defRPr>
            </a:lvl1pPr>
          </a:lstStyle>
          <a:p>
            <a:pPr lvl="0"/>
            <a:r>
              <a:rPr lang="en-US"/>
              <a:t>Round up your slides with key messages</a:t>
            </a:r>
          </a:p>
          <a:p>
            <a:pPr lvl="0"/>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Examples could be focusing on collabor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Keep your messages brief and to the point</a:t>
            </a:r>
          </a:p>
          <a:p>
            <a:pPr lvl="0"/>
            <a:endParaRPr lang="en-US"/>
          </a:p>
        </p:txBody>
      </p:sp>
      <p:sp>
        <p:nvSpPr>
          <p:cNvPr id="11" name="TextBox 10">
            <a:extLst>
              <a:ext uri="{FF2B5EF4-FFF2-40B4-BE49-F238E27FC236}">
                <a16:creationId xmlns:a16="http://schemas.microsoft.com/office/drawing/2014/main" id="{BF0BCDC0-6706-4865-80FC-6E0DEDA18065}"/>
              </a:ext>
            </a:extLst>
          </p:cNvPr>
          <p:cNvSpPr txBox="1"/>
          <p:nvPr userDrawn="1"/>
        </p:nvSpPr>
        <p:spPr>
          <a:xfrm>
            <a:off x="10767234" y="78580"/>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0489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ymbol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6912"/>
            <a:ext cx="12611700" cy="1804990"/>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ymbols to illustrate key points</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7" name="TextBox 6">
            <a:extLst>
              <a:ext uri="{FF2B5EF4-FFF2-40B4-BE49-F238E27FC236}">
                <a16:creationId xmlns:a16="http://schemas.microsoft.com/office/drawing/2014/main" id="{646C4FE3-9E7F-4D90-8E38-05C0C2FDC388}"/>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30597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6" name="Straight Connector 5"/>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46271" y="0"/>
            <a:ext cx="7845729" cy="3258457"/>
          </a:xfrm>
          <a:prstGeom prst="rect">
            <a:avLst/>
          </a:prstGeom>
        </p:spPr>
      </p:pic>
      <p:sp>
        <p:nvSpPr>
          <p:cNvPr id="9" name="Title 1"/>
          <p:cNvSpPr txBox="1">
            <a:spLocks/>
          </p:cNvSpPr>
          <p:nvPr userDrawn="1"/>
        </p:nvSpPr>
        <p:spPr>
          <a:xfrm>
            <a:off x="465372" y="527884"/>
            <a:ext cx="10888428" cy="51117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3200" b="1" kern="1200" baseline="0">
                <a:solidFill>
                  <a:srgbClr val="9C1521"/>
                </a:solidFill>
                <a:latin typeface="Arial" panose="020B0604020202020204" pitchFamily="34" charset="0"/>
                <a:ea typeface="+mj-ea"/>
                <a:cs typeface="Arial" panose="020B0604020202020204" pitchFamily="34" charset="0"/>
              </a:defRPr>
            </a:lvl1pPr>
          </a:lstStyle>
          <a:p>
            <a:r>
              <a:rPr lang="en-GB"/>
              <a:t>Symbols to illustrate key points</a:t>
            </a:r>
          </a:p>
        </p:txBody>
      </p:sp>
      <p:sp>
        <p:nvSpPr>
          <p:cNvPr id="10" name="Text Placeholder 2"/>
          <p:cNvSpPr>
            <a:spLocks noGrp="1"/>
          </p:cNvSpPr>
          <p:nvPr>
            <p:ph type="body" idx="26" hasCustomPrompt="1"/>
          </p:nvPr>
        </p:nvSpPr>
        <p:spPr>
          <a:xfrm>
            <a:off x="465372" y="1629229"/>
            <a:ext cx="3475275" cy="285298"/>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1" name="Text Placeholder 2"/>
          <p:cNvSpPr>
            <a:spLocks noGrp="1"/>
          </p:cNvSpPr>
          <p:nvPr>
            <p:ph type="body" idx="30" hasCustomPrompt="1"/>
          </p:nvPr>
        </p:nvSpPr>
        <p:spPr>
          <a:xfrm>
            <a:off x="4346270" y="1629228"/>
            <a:ext cx="3475275" cy="285298"/>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
        <p:nvSpPr>
          <p:cNvPr id="12" name="Text Placeholder 2"/>
          <p:cNvSpPr>
            <a:spLocks noGrp="1"/>
          </p:cNvSpPr>
          <p:nvPr>
            <p:ph type="body" idx="31" hasCustomPrompt="1"/>
          </p:nvPr>
        </p:nvSpPr>
        <p:spPr>
          <a:xfrm>
            <a:off x="465372" y="3858677"/>
            <a:ext cx="3475275" cy="26565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3</a:t>
            </a:r>
          </a:p>
        </p:txBody>
      </p:sp>
      <p:sp>
        <p:nvSpPr>
          <p:cNvPr id="13" name="Text Placeholder 2"/>
          <p:cNvSpPr>
            <a:spLocks noGrp="1"/>
          </p:cNvSpPr>
          <p:nvPr>
            <p:ph type="body" idx="32" hasCustomPrompt="1"/>
          </p:nvPr>
        </p:nvSpPr>
        <p:spPr>
          <a:xfrm>
            <a:off x="4346270" y="3858676"/>
            <a:ext cx="3475275" cy="26565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4</a:t>
            </a:r>
          </a:p>
        </p:txBody>
      </p:sp>
      <p:sp>
        <p:nvSpPr>
          <p:cNvPr id="14" name="Text Placeholder 2"/>
          <p:cNvSpPr>
            <a:spLocks noGrp="1"/>
          </p:cNvSpPr>
          <p:nvPr>
            <p:ph type="body" idx="24" hasCustomPrompt="1"/>
          </p:nvPr>
        </p:nvSpPr>
        <p:spPr>
          <a:xfrm>
            <a:off x="465371" y="20787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5" name="Text Placeholder 2"/>
          <p:cNvSpPr>
            <a:spLocks noGrp="1"/>
          </p:cNvSpPr>
          <p:nvPr>
            <p:ph type="body" idx="33" hasCustomPrompt="1"/>
          </p:nvPr>
        </p:nvSpPr>
        <p:spPr>
          <a:xfrm>
            <a:off x="4346270" y="20787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6" name="Text Placeholder 2"/>
          <p:cNvSpPr>
            <a:spLocks noGrp="1"/>
          </p:cNvSpPr>
          <p:nvPr>
            <p:ph type="body" idx="34" hasCustomPrompt="1"/>
          </p:nvPr>
        </p:nvSpPr>
        <p:spPr>
          <a:xfrm>
            <a:off x="465371" y="42885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7" name="Text Placeholder 2"/>
          <p:cNvSpPr>
            <a:spLocks noGrp="1"/>
          </p:cNvSpPr>
          <p:nvPr>
            <p:ph type="body" idx="35" hasCustomPrompt="1"/>
          </p:nvPr>
        </p:nvSpPr>
        <p:spPr>
          <a:xfrm>
            <a:off x="4346270" y="42885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8" name="TextBox 17">
            <a:extLst>
              <a:ext uri="{FF2B5EF4-FFF2-40B4-BE49-F238E27FC236}">
                <a16:creationId xmlns:a16="http://schemas.microsoft.com/office/drawing/2014/main" id="{3B578554-D82D-424D-B5AC-DC1AA64BD687}"/>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18303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ntent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350" y="318254"/>
            <a:ext cx="11713301" cy="648072"/>
          </a:xfrm>
          <a:prstGeom prst="rect">
            <a:avLst/>
          </a:prstGeom>
        </p:spPr>
        <p:txBody>
          <a:bodyPr/>
          <a:lstStyle>
            <a:lvl1pPr>
              <a:defRPr>
                <a:solidFill>
                  <a:srgbClr val="003E74"/>
                </a:solidFill>
              </a:defRPr>
            </a:lvl1pPr>
          </a:lstStyle>
          <a:p>
            <a:r>
              <a:rPr lang="en-GB" noProof="0"/>
              <a:t>Click to edit title</a:t>
            </a:r>
          </a:p>
        </p:txBody>
      </p:sp>
      <p:sp>
        <p:nvSpPr>
          <p:cNvPr id="4" name="Content Placeholder 3"/>
          <p:cNvSpPr>
            <a:spLocks noGrp="1"/>
          </p:cNvSpPr>
          <p:nvPr>
            <p:ph sz="quarter" idx="10"/>
          </p:nvPr>
        </p:nvSpPr>
        <p:spPr>
          <a:xfrm>
            <a:off x="239350" y="1182353"/>
            <a:ext cx="11713301" cy="5443802"/>
          </a:xfrm>
          <a:prstGeom prst="rect">
            <a:avLst/>
          </a:prstGeom>
        </p:spPr>
        <p:txBody>
          <a:bodyPr>
            <a:normAutofit/>
          </a:bodyPr>
          <a:lstStyle>
            <a:lvl1pPr marL="320040" indent="-320040">
              <a:defRPr sz="3733">
                <a:solidFill>
                  <a:srgbClr val="003E74"/>
                </a:solidFill>
                <a:latin typeface="Arial" pitchFamily="34" charset="0"/>
                <a:cs typeface="Arial" pitchFamily="34" charset="0"/>
              </a:defRPr>
            </a:lvl1pPr>
            <a:lvl2pPr marL="649606" indent="-329566">
              <a:defRPr sz="3200">
                <a:solidFill>
                  <a:srgbClr val="003E74"/>
                </a:solidFill>
                <a:latin typeface="Arial" pitchFamily="34" charset="0"/>
                <a:cs typeface="Arial" pitchFamily="34" charset="0"/>
              </a:defRPr>
            </a:lvl2pPr>
            <a:lvl3pPr marL="859156" indent="-209550">
              <a:defRPr sz="2666">
                <a:solidFill>
                  <a:srgbClr val="003E74"/>
                </a:solidFill>
                <a:latin typeface="Arial" pitchFamily="34" charset="0"/>
                <a:cs typeface="Arial" pitchFamily="34" charset="0"/>
              </a:defRPr>
            </a:lvl3pPr>
            <a:lvl4pPr marL="1179196" indent="-302896">
              <a:defRPr sz="2400">
                <a:solidFill>
                  <a:srgbClr val="003E74"/>
                </a:solidFill>
                <a:latin typeface="Arial" pitchFamily="34" charset="0"/>
                <a:cs typeface="Arial" pitchFamily="34" charset="0"/>
              </a:defRPr>
            </a:lvl4pPr>
            <a:lvl5pPr marL="1398270" indent="-320040">
              <a:defRPr sz="2400">
                <a:solidFill>
                  <a:srgbClr val="003E74"/>
                </a:solidFill>
                <a:latin typeface="Arial" pitchFamily="34" charset="0"/>
                <a:cs typeface="Arial"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5" name="Straight Connector 4"/>
          <p:cNvCxnSpPr>
            <a:cxnSpLocks/>
          </p:cNvCxnSpPr>
          <p:nvPr userDrawn="1"/>
        </p:nvCxnSpPr>
        <p:spPr>
          <a:xfrm>
            <a:off x="239350" y="966326"/>
            <a:ext cx="11713301" cy="0"/>
          </a:xfrm>
          <a:prstGeom prst="line">
            <a:avLst/>
          </a:prstGeom>
          <a:ln>
            <a:solidFill>
              <a:srgbClr val="758CB1"/>
            </a:solidFill>
          </a:ln>
        </p:spPr>
        <p:style>
          <a:lnRef idx="1">
            <a:schemeClr val="accent1"/>
          </a:lnRef>
          <a:fillRef idx="0">
            <a:schemeClr val="accent1"/>
          </a:fillRef>
          <a:effectRef idx="0">
            <a:schemeClr val="accent1"/>
          </a:effectRef>
          <a:fontRef idx="minor">
            <a:schemeClr val="tx1"/>
          </a:fontRef>
        </p:style>
      </p:cxnSp>
      <p:sp>
        <p:nvSpPr>
          <p:cNvPr id="11" name="Slide Number Placeholder 2">
            <a:extLst>
              <a:ext uri="{FF2B5EF4-FFF2-40B4-BE49-F238E27FC236}">
                <a16:creationId xmlns:a16="http://schemas.microsoft.com/office/drawing/2014/main" id="{27B1FE59-60AB-4851-B067-AD565CD1B35C}"/>
              </a:ext>
            </a:extLst>
          </p:cNvPr>
          <p:cNvSpPr>
            <a:spLocks noGrp="1"/>
          </p:cNvSpPr>
          <p:nvPr>
            <p:ph type="sldNum" sz="quarter" idx="11"/>
          </p:nvPr>
        </p:nvSpPr>
        <p:spPr>
          <a:xfrm>
            <a:off x="11519296" y="1"/>
            <a:ext cx="672704" cy="316158"/>
          </a:xfrm>
        </p:spPr>
        <p:txBody>
          <a:bodyPr/>
          <a:lstStyle>
            <a:lvl1pPr>
              <a:defRPr sz="1200"/>
            </a:lvl1pPr>
          </a:lstStyle>
          <a:p>
            <a:fld id="{10E6436F-9460-48DE-AF03-B8A76C58A559}" type="slidenum">
              <a:rPr lang="en-GB" smtClean="0"/>
              <a:pPr/>
              <a:t>‹#›</a:t>
            </a:fld>
            <a:endParaRPr lang="en-GB"/>
          </a:p>
        </p:txBody>
      </p:sp>
    </p:spTree>
    <p:extLst>
      <p:ext uri="{BB962C8B-B14F-4D97-AF65-F5344CB8AC3E}">
        <p14:creationId xmlns:p14="http://schemas.microsoft.com/office/powerpoint/2010/main" val="2316016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3274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16" name="Picture 1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710402"/>
            <a:ext cx="12192000" cy="8619202"/>
          </a:xfrm>
          <a:prstGeom prst="rect">
            <a:avLst/>
          </a:prstGeom>
        </p:spPr>
      </p:pic>
    </p:spTree>
    <p:extLst>
      <p:ext uri="{BB962C8B-B14F-4D97-AF65-F5344CB8AC3E}">
        <p14:creationId xmlns:p14="http://schemas.microsoft.com/office/powerpoint/2010/main" val="30189030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25400"/>
            <a:ext cx="12192000" cy="6883400"/>
          </a:xfrm>
          <a:prstGeom prst="rect">
            <a:avLst/>
          </a:prstGeom>
        </p:spPr>
      </p:pic>
    </p:spTree>
    <p:extLst>
      <p:ext uri="{BB962C8B-B14F-4D97-AF65-F5344CB8AC3E}">
        <p14:creationId xmlns:p14="http://schemas.microsoft.com/office/powerpoint/2010/main" val="354150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25400"/>
            <a:ext cx="12192000" cy="6883400"/>
          </a:xfrm>
          <a:prstGeom prst="rect">
            <a:avLst/>
          </a:prstGeom>
        </p:spPr>
      </p:pic>
    </p:spTree>
    <p:extLst>
      <p:ext uri="{BB962C8B-B14F-4D97-AF65-F5344CB8AC3E}">
        <p14:creationId xmlns:p14="http://schemas.microsoft.com/office/powerpoint/2010/main" val="19781205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50800"/>
            <a:ext cx="12192000" cy="6928789"/>
          </a:xfrm>
          <a:prstGeom prst="rect">
            <a:avLst/>
          </a:prstGeom>
        </p:spPr>
      </p:pic>
    </p:spTree>
    <p:extLst>
      <p:ext uri="{BB962C8B-B14F-4D97-AF65-F5344CB8AC3E}">
        <p14:creationId xmlns:p14="http://schemas.microsoft.com/office/powerpoint/2010/main" val="22205021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5" name="Picture 4"/>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3500"/>
            <a:ext cx="12192000" cy="6921500"/>
          </a:xfrm>
          <a:prstGeom prst="rect">
            <a:avLst/>
          </a:prstGeom>
        </p:spPr>
      </p:pic>
    </p:spTree>
    <p:extLst>
      <p:ext uri="{BB962C8B-B14F-4D97-AF65-F5344CB8AC3E}">
        <p14:creationId xmlns:p14="http://schemas.microsoft.com/office/powerpoint/2010/main" val="14548322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959600"/>
          </a:xfrm>
          <a:prstGeom prst="rect">
            <a:avLst/>
          </a:prstGeom>
        </p:spPr>
      </p:pic>
    </p:spTree>
    <p:extLst>
      <p:ext uri="{BB962C8B-B14F-4D97-AF65-F5344CB8AC3E}">
        <p14:creationId xmlns:p14="http://schemas.microsoft.com/office/powerpoint/2010/main" val="2469147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Box 9"/>
          <p:cNvSpPr txBox="1"/>
          <p:nvPr userDrawn="1"/>
        </p:nvSpPr>
        <p:spPr>
          <a:xfrm>
            <a:off x="466960" y="562218"/>
            <a:ext cx="7302110" cy="584775"/>
          </a:xfrm>
          <a:prstGeom prst="rect">
            <a:avLst/>
          </a:prstGeom>
          <a:noFill/>
        </p:spPr>
        <p:txBody>
          <a:bodyPr wrap="square" rtlCol="0">
            <a:spAutoFit/>
          </a:bodyPr>
          <a:lstStyle/>
          <a:p>
            <a:r>
              <a:rPr lang="en-GB" sz="3200" b="1">
                <a:solidFill>
                  <a:srgbClr val="9C1420"/>
                </a:solidFill>
                <a:latin typeface="Arial" panose="020B0604020202020204" pitchFamily="34" charset="0"/>
                <a:cs typeface="Arial" panose="020B0604020202020204" pitchFamily="34" charset="0"/>
              </a:rPr>
              <a:t>About UK Power Networks</a:t>
            </a:r>
          </a:p>
        </p:txBody>
      </p:sp>
      <p:sp>
        <p:nvSpPr>
          <p:cNvPr id="12" name="Rectangle 11"/>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Straight Connector 12"/>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9428" y="2165417"/>
            <a:ext cx="15844877" cy="3944454"/>
          </a:xfrm>
          <a:prstGeom prst="rect">
            <a:avLst/>
          </a:prstGeom>
        </p:spPr>
      </p:pic>
    </p:spTree>
    <p:extLst>
      <p:ext uri="{BB962C8B-B14F-4D97-AF65-F5344CB8AC3E}">
        <p14:creationId xmlns:p14="http://schemas.microsoft.com/office/powerpoint/2010/main" val="27962525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ur vision">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876" y="1754128"/>
            <a:ext cx="10058400" cy="3063035"/>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4251" y="5446537"/>
            <a:ext cx="7907197" cy="938865"/>
          </a:xfrm>
          <a:prstGeom prst="rect">
            <a:avLst/>
          </a:prstGeom>
        </p:spPr>
      </p:pic>
      <p:pic>
        <p:nvPicPr>
          <p:cNvPr id="4" name="Picture 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87430" y="560638"/>
            <a:ext cx="7456054" cy="859611"/>
          </a:xfrm>
          <a:prstGeom prst="rect">
            <a:avLst/>
          </a:prstGeom>
        </p:spPr>
      </p:pic>
    </p:spTree>
    <p:extLst>
      <p:ext uri="{BB962C8B-B14F-4D97-AF65-F5344CB8AC3E}">
        <p14:creationId xmlns:p14="http://schemas.microsoft.com/office/powerpoint/2010/main" val="16540402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ur values">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1210" y="539319"/>
            <a:ext cx="6385130" cy="5861481"/>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143364" y="857609"/>
            <a:ext cx="6748857" cy="1743607"/>
          </a:xfrm>
          <a:prstGeom prst="rect">
            <a:avLst/>
          </a:prstGeom>
        </p:spPr>
      </p:pic>
    </p:spTree>
    <p:extLst>
      <p:ext uri="{BB962C8B-B14F-4D97-AF65-F5344CB8AC3E}">
        <p14:creationId xmlns:p14="http://schemas.microsoft.com/office/powerpoint/2010/main" val="2118722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1</a:t>
            </a:r>
          </a:p>
        </p:txBody>
      </p:sp>
      <p:sp>
        <p:nvSpPr>
          <p:cNvPr id="3" name="Text Placeholder 2"/>
          <p:cNvSpPr>
            <a:spLocks noGrp="1"/>
          </p:cNvSpPr>
          <p:nvPr>
            <p:ph type="body" idx="1" hasCustomPrompt="1"/>
          </p:nvPr>
        </p:nvSpPr>
        <p:spPr>
          <a:xfrm>
            <a:off x="465373" y="1681163"/>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0" name="Rectangle 9"/>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2" name="Text Placeholder 2"/>
          <p:cNvSpPr>
            <a:spLocks noGrp="1"/>
          </p:cNvSpPr>
          <p:nvPr>
            <p:ph type="body" idx="16" hasCustomPrompt="1"/>
          </p:nvPr>
        </p:nvSpPr>
        <p:spPr>
          <a:xfrm>
            <a:off x="465373" y="2463258"/>
            <a:ext cx="3968280" cy="2761974"/>
          </a:xfrm>
        </p:spPr>
        <p:txBody>
          <a:bodyPr anchor="t">
            <a:normAutofit/>
          </a:bodyPr>
          <a:lstStyle>
            <a:lvl1pPr marL="0" indent="0">
              <a:buNone/>
              <a:defRPr sz="1800" b="0">
                <a:solidFill>
                  <a:srgbClr val="41424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5" name="Text Placeholder 2"/>
          <p:cNvSpPr>
            <a:spLocks noGrp="1"/>
          </p:cNvSpPr>
          <p:nvPr>
            <p:ph type="body" idx="17" hasCustomPrompt="1"/>
          </p:nvPr>
        </p:nvSpPr>
        <p:spPr>
          <a:xfrm>
            <a:off x="5019990" y="1681163"/>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
        <p:nvSpPr>
          <p:cNvPr id="18" name="Text Placeholder 2"/>
          <p:cNvSpPr>
            <a:spLocks noGrp="1"/>
          </p:cNvSpPr>
          <p:nvPr>
            <p:ph type="body" idx="18" hasCustomPrompt="1"/>
          </p:nvPr>
        </p:nvSpPr>
        <p:spPr>
          <a:xfrm>
            <a:off x="5019990" y="2463258"/>
            <a:ext cx="3968280" cy="2761974"/>
          </a:xfrm>
        </p:spPr>
        <p:txBody>
          <a:bodyPr anchor="t">
            <a:normAutofit/>
          </a:bodyPr>
          <a:lstStyle>
            <a:lvl1pPr marL="0" indent="0">
              <a:buNone/>
              <a:defRPr sz="1800" b="0">
                <a:solidFill>
                  <a:srgbClr val="41424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Tree>
    <p:extLst>
      <p:ext uri="{BB962C8B-B14F-4D97-AF65-F5344CB8AC3E}">
        <p14:creationId xmlns:p14="http://schemas.microsoft.com/office/powerpoint/2010/main" val="32477796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lide 2 - agenda</a:t>
            </a:r>
          </a:p>
        </p:txBody>
      </p:sp>
      <p:sp>
        <p:nvSpPr>
          <p:cNvPr id="10" name="Rectangle 9"/>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1332165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portant statistics or key point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918200" y="936637"/>
            <a:ext cx="6261100" cy="5690715"/>
          </a:xfrm>
          <a:prstGeom prst="rect">
            <a:avLst/>
          </a:prstGeom>
        </p:spPr>
      </p:pic>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Important statistics or key points</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19514126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an image">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1</a:t>
            </a:r>
          </a:p>
        </p:txBody>
      </p:sp>
      <p:sp>
        <p:nvSpPr>
          <p:cNvPr id="15" name="Text Placeholder 2"/>
          <p:cNvSpPr>
            <a:spLocks noGrp="1"/>
          </p:cNvSpPr>
          <p:nvPr>
            <p:ph type="body" idx="1" hasCustomPrompt="1"/>
          </p:nvPr>
        </p:nvSpPr>
        <p:spPr>
          <a:xfrm>
            <a:off x="465372" y="1681162"/>
            <a:ext cx="3968280" cy="490537"/>
          </a:xfrm>
        </p:spPr>
        <p:txBody>
          <a:bodyPr anchor="b"/>
          <a:lstStyle>
            <a:lvl1pPr marL="0" indent="0">
              <a:buNone/>
              <a:defRPr sz="24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20" name="Online Image Placeholder 19"/>
          <p:cNvSpPr>
            <a:spLocks noGrp="1"/>
          </p:cNvSpPr>
          <p:nvPr>
            <p:ph type="clipArt" sz="quarter" idx="15"/>
          </p:nvPr>
        </p:nvSpPr>
        <p:spPr>
          <a:xfrm>
            <a:off x="5909586" y="1681162"/>
            <a:ext cx="4630737" cy="3544069"/>
          </a:xfrm>
        </p:spPr>
        <p:txBody>
          <a:bodyPr/>
          <a:lstStyle/>
          <a:p>
            <a:endParaRPr lang="en-GB"/>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1" name="Text Placeholder 2"/>
          <p:cNvSpPr>
            <a:spLocks noGrp="1"/>
          </p:cNvSpPr>
          <p:nvPr>
            <p:ph type="body" idx="16" hasCustomPrompt="1"/>
          </p:nvPr>
        </p:nvSpPr>
        <p:spPr>
          <a:xfrm>
            <a:off x="465373" y="2463258"/>
            <a:ext cx="3968280" cy="2761974"/>
          </a:xfrm>
        </p:spPr>
        <p:txBody>
          <a:bodyPr anchor="t">
            <a:normAutofit/>
          </a:bodyPr>
          <a:lstStyle>
            <a:lvl1pPr marL="0" indent="0">
              <a:buNone/>
              <a:defRPr sz="1800" b="0">
                <a:solidFill>
                  <a:schemeClr val="bg2">
                    <a:lumMod val="25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Tree>
    <p:extLst>
      <p:ext uri="{BB962C8B-B14F-4D97-AF65-F5344CB8AC3E}">
        <p14:creationId xmlns:p14="http://schemas.microsoft.com/office/powerpoint/2010/main" val="633470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50800"/>
            <a:ext cx="12192000" cy="6928789"/>
          </a:xfrm>
          <a:prstGeom prst="rect">
            <a:avLst/>
          </a:prstGeom>
        </p:spPr>
      </p:pic>
    </p:spTree>
    <p:extLst>
      <p:ext uri="{BB962C8B-B14F-4D97-AF65-F5344CB8AC3E}">
        <p14:creationId xmlns:p14="http://schemas.microsoft.com/office/powerpoint/2010/main" val="1684106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15567"/>
            <a:ext cx="12611700" cy="1804990"/>
          </a:xfrm>
          <a:prstGeom prst="rect">
            <a:avLst/>
          </a:prstGeom>
        </p:spPr>
      </p:pic>
      <p:sp>
        <p:nvSpPr>
          <p:cNvPr id="17"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with a table</a:t>
            </a:r>
          </a:p>
        </p:txBody>
      </p:sp>
      <p:sp>
        <p:nvSpPr>
          <p:cNvPr id="3" name="Text Placeholder 2"/>
          <p:cNvSpPr>
            <a:spLocks noGrp="1"/>
          </p:cNvSpPr>
          <p:nvPr>
            <p:ph type="body" sz="quarter" idx="10" hasCustomPrompt="1"/>
          </p:nvPr>
        </p:nvSpPr>
        <p:spPr>
          <a:xfrm>
            <a:off x="465372" y="2519363"/>
            <a:ext cx="3509962" cy="354677"/>
          </a:xfrm>
        </p:spPr>
        <p:txBody>
          <a:bodyPr>
            <a:normAutofit/>
          </a:bodyPr>
          <a:lstStyle>
            <a:lvl1pPr marL="0" indent="0">
              <a:buNone/>
              <a:defRPr sz="2000">
                <a:solidFill>
                  <a:srgbClr val="9C1521"/>
                </a:solidFill>
                <a:latin typeface="Arial" panose="020B0604020202020204" pitchFamily="34" charset="0"/>
                <a:cs typeface="Arial" panose="020B0604020202020204" pitchFamily="34" charset="0"/>
              </a:defRPr>
            </a:lvl1pPr>
          </a:lstStyle>
          <a:p>
            <a:pPr lvl="0"/>
            <a:r>
              <a:rPr lang="en-US"/>
              <a:t>Table 1: key outputs</a:t>
            </a:r>
            <a:endParaRPr lang="en-GB"/>
          </a:p>
        </p:txBody>
      </p:sp>
    </p:spTree>
    <p:extLst>
      <p:ext uri="{BB962C8B-B14F-4D97-AF65-F5344CB8AC3E}">
        <p14:creationId xmlns:p14="http://schemas.microsoft.com/office/powerpoint/2010/main" val="1495632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formation with computer">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oject title</a:t>
            </a:r>
          </a:p>
        </p:txBody>
      </p:sp>
      <p:sp>
        <p:nvSpPr>
          <p:cNvPr id="15" name="Text Placeholder 2"/>
          <p:cNvSpPr>
            <a:spLocks noGrp="1"/>
          </p:cNvSpPr>
          <p:nvPr>
            <p:ph type="body" idx="1" hasCustomPrompt="1"/>
          </p:nvPr>
        </p:nvSpPr>
        <p:spPr>
          <a:xfrm>
            <a:off x="465372" y="1039059"/>
            <a:ext cx="3968280" cy="490537"/>
          </a:xfrm>
        </p:spPr>
        <p:txBody>
          <a:bodyPr anchor="b">
            <a:normAutofit/>
          </a:bodyPr>
          <a:lstStyle>
            <a:lvl1pPr marL="0" indent="0">
              <a:buNone/>
              <a:defRPr sz="28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79014" y="2193026"/>
            <a:ext cx="5392072" cy="2808051"/>
          </a:xfrm>
          <a:prstGeom prst="rect">
            <a:avLst/>
          </a:prstGeom>
        </p:spPr>
      </p:pic>
      <p:sp>
        <p:nvSpPr>
          <p:cNvPr id="20" name="Online Image Placeholder 19"/>
          <p:cNvSpPr>
            <a:spLocks noGrp="1"/>
          </p:cNvSpPr>
          <p:nvPr>
            <p:ph type="clipArt" sz="quarter" idx="15"/>
          </p:nvPr>
        </p:nvSpPr>
        <p:spPr>
          <a:xfrm>
            <a:off x="6894286" y="2351314"/>
            <a:ext cx="4339771" cy="2278743"/>
          </a:xfrm>
        </p:spPr>
        <p:txBody>
          <a:bodyPr/>
          <a:lstStyle/>
          <a:p>
            <a:endParaRPr lang="en-GB"/>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1" name="Text Placeholder 2"/>
          <p:cNvSpPr>
            <a:spLocks noGrp="1"/>
          </p:cNvSpPr>
          <p:nvPr>
            <p:ph type="body" idx="16" hasCustomPrompt="1"/>
          </p:nvPr>
        </p:nvSpPr>
        <p:spPr>
          <a:xfrm>
            <a:off x="465372" y="2216064"/>
            <a:ext cx="3968280" cy="2761974"/>
          </a:xfrm>
        </p:spPr>
        <p:txBody>
          <a:bodyPr anchor="t">
            <a:normAutofit/>
          </a:bodyPr>
          <a:lstStyle>
            <a:lvl1pPr marL="0" indent="0">
              <a:buNone/>
              <a:defRPr sz="2000" b="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Tree>
    <p:extLst>
      <p:ext uri="{BB962C8B-B14F-4D97-AF65-F5344CB8AC3E}">
        <p14:creationId xmlns:p14="http://schemas.microsoft.com/office/powerpoint/2010/main" val="38565478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918200" y="936637"/>
            <a:ext cx="6261100" cy="5690715"/>
          </a:xfrm>
          <a:prstGeom prst="rect">
            <a:avLst/>
          </a:prstGeom>
        </p:spPr>
      </p:pic>
      <p:sp>
        <p:nvSpPr>
          <p:cNvPr id="7" name="TextBox 6"/>
          <p:cNvSpPr txBox="1"/>
          <p:nvPr userDrawn="1"/>
        </p:nvSpPr>
        <p:spPr>
          <a:xfrm>
            <a:off x="466960" y="539979"/>
            <a:ext cx="7302110" cy="584775"/>
          </a:xfrm>
          <a:prstGeom prst="rect">
            <a:avLst/>
          </a:prstGeom>
          <a:noFill/>
        </p:spPr>
        <p:txBody>
          <a:bodyPr wrap="square" rtlCol="0">
            <a:spAutoFit/>
          </a:bodyPr>
          <a:lstStyle/>
          <a:p>
            <a:r>
              <a:rPr lang="en-GB" sz="3200" b="1">
                <a:solidFill>
                  <a:srgbClr val="9C1420"/>
                </a:solidFill>
                <a:latin typeface="Arial" panose="020B0604020202020204" pitchFamily="34" charset="0"/>
                <a:cs typeface="Arial" panose="020B0604020202020204" pitchFamily="34" charset="0"/>
              </a:rPr>
              <a:t>Project timeline</a:t>
            </a:r>
          </a:p>
        </p:txBody>
      </p:sp>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38750406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portant stat ">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Slide title</a:t>
            </a:r>
          </a:p>
        </p:txBody>
      </p:sp>
      <p:sp>
        <p:nvSpPr>
          <p:cNvPr id="15" name="Text Placeholder 2"/>
          <p:cNvSpPr>
            <a:spLocks noGrp="1"/>
          </p:cNvSpPr>
          <p:nvPr>
            <p:ph type="body" idx="1" hasCustomPrompt="1"/>
          </p:nvPr>
        </p:nvSpPr>
        <p:spPr>
          <a:xfrm>
            <a:off x="465372" y="1073592"/>
            <a:ext cx="3968280" cy="490537"/>
          </a:xfrm>
        </p:spPr>
        <p:txBody>
          <a:bodyPr anchor="b">
            <a:normAutofit/>
          </a:bodyPr>
          <a:lstStyle>
            <a:lvl1pPr marL="0" indent="0">
              <a:buNone/>
              <a:defRPr sz="2800" b="1">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a:t>
            </a: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4094" y="0"/>
            <a:ext cx="8680606" cy="6858000"/>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72232" y="303247"/>
            <a:ext cx="1163136" cy="627703"/>
          </a:xfrm>
          <a:prstGeom prst="rect">
            <a:avLst/>
          </a:prstGeom>
        </p:spPr>
      </p:pic>
      <p:sp>
        <p:nvSpPr>
          <p:cNvPr id="28" name="Text Placeholder 2"/>
          <p:cNvSpPr>
            <a:spLocks noGrp="1"/>
          </p:cNvSpPr>
          <p:nvPr>
            <p:ph type="body" idx="18" hasCustomPrompt="1"/>
          </p:nvPr>
        </p:nvSpPr>
        <p:spPr>
          <a:xfrm>
            <a:off x="7385520" y="2115495"/>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29" name="Text Placeholder 2"/>
          <p:cNvSpPr>
            <a:spLocks noGrp="1"/>
          </p:cNvSpPr>
          <p:nvPr>
            <p:ph type="body" idx="19" hasCustomPrompt="1"/>
          </p:nvPr>
        </p:nvSpPr>
        <p:spPr>
          <a:xfrm>
            <a:off x="7385520" y="2565735"/>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0" name="Text Placeholder 2"/>
          <p:cNvSpPr>
            <a:spLocks noGrp="1"/>
          </p:cNvSpPr>
          <p:nvPr>
            <p:ph type="body" idx="20" hasCustomPrompt="1"/>
          </p:nvPr>
        </p:nvSpPr>
        <p:spPr>
          <a:xfrm>
            <a:off x="7385520" y="3340998"/>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1" name="Text Placeholder 2"/>
          <p:cNvSpPr>
            <a:spLocks noGrp="1"/>
          </p:cNvSpPr>
          <p:nvPr>
            <p:ph type="body" idx="21" hasCustomPrompt="1"/>
          </p:nvPr>
        </p:nvSpPr>
        <p:spPr>
          <a:xfrm>
            <a:off x="7385520" y="3791238"/>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2" name="Text Placeholder 2"/>
          <p:cNvSpPr>
            <a:spLocks noGrp="1"/>
          </p:cNvSpPr>
          <p:nvPr>
            <p:ph type="body" idx="22" hasCustomPrompt="1"/>
          </p:nvPr>
        </p:nvSpPr>
        <p:spPr>
          <a:xfrm>
            <a:off x="7385520" y="4649259"/>
            <a:ext cx="3968280" cy="490537"/>
          </a:xfrm>
        </p:spPr>
        <p:txBody>
          <a:bodyPr anchor="b">
            <a:noAutofit/>
          </a:bodyPr>
          <a:lstStyle>
            <a:lvl1pPr marL="0" indent="0">
              <a:buNone/>
              <a:defRPr sz="3600" b="1">
                <a:solidFill>
                  <a:schemeClr val="bg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sp>
        <p:nvSpPr>
          <p:cNvPr id="33" name="Text Placeholder 2"/>
          <p:cNvSpPr>
            <a:spLocks noGrp="1"/>
          </p:cNvSpPr>
          <p:nvPr>
            <p:ph type="body" idx="23" hasCustomPrompt="1"/>
          </p:nvPr>
        </p:nvSpPr>
        <p:spPr>
          <a:xfrm>
            <a:off x="7385520" y="5099499"/>
            <a:ext cx="3968280" cy="490537"/>
          </a:xfrm>
        </p:spPr>
        <p:txBody>
          <a:bodyPr anchor="b">
            <a:noAutofit/>
          </a:bodyPr>
          <a:lstStyle>
            <a:lvl1pPr marL="0" indent="0">
              <a:buNone/>
              <a:defRPr sz="2400" b="0">
                <a:solidFill>
                  <a:schemeClr val="bg1"/>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mportant stat</a:t>
            </a:r>
          </a:p>
        </p:txBody>
      </p:sp>
      <p:cxnSp>
        <p:nvCxnSpPr>
          <p:cNvPr id="34" name="Straight Connector 33"/>
          <p:cNvCxnSpPr/>
          <p:nvPr userDrawn="1"/>
        </p:nvCxnSpPr>
        <p:spPr>
          <a:xfrm flipV="1">
            <a:off x="7385520" y="3193762"/>
            <a:ext cx="3968280" cy="32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p:cNvCxnSpPr/>
          <p:nvPr userDrawn="1"/>
        </p:nvCxnSpPr>
        <p:spPr>
          <a:xfrm flipV="1">
            <a:off x="7385520" y="4506412"/>
            <a:ext cx="3968280" cy="32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2"/>
          <p:cNvSpPr>
            <a:spLocks noGrp="1"/>
          </p:cNvSpPr>
          <p:nvPr>
            <p:ph type="body" idx="16" hasCustomPrompt="1"/>
          </p:nvPr>
        </p:nvSpPr>
        <p:spPr>
          <a:xfrm>
            <a:off x="465372" y="2216064"/>
            <a:ext cx="3968280" cy="2761974"/>
          </a:xfrm>
        </p:spPr>
        <p:txBody>
          <a:bodyPr anchor="t">
            <a:normAutofit/>
          </a:bodyPr>
          <a:lstStyle>
            <a:lvl1pPr marL="0" indent="0">
              <a:buNone/>
              <a:defRPr sz="20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p:txBody>
      </p:sp>
    </p:spTree>
    <p:extLst>
      <p:ext uri="{BB962C8B-B14F-4D97-AF65-F5344CB8AC3E}">
        <p14:creationId xmlns:p14="http://schemas.microsoft.com/office/powerpoint/2010/main" val="25943441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ives slide">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322372" y="2816121"/>
            <a:ext cx="0" cy="2530579"/>
          </a:xfrm>
          <a:prstGeom prst="line">
            <a:avLst/>
          </a:prstGeom>
          <a:ln>
            <a:solidFill>
              <a:srgbClr val="414042"/>
            </a:solidFill>
            <a:prstDash val="dash"/>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16" hasCustomPrompt="1"/>
          </p:nvPr>
        </p:nvSpPr>
        <p:spPr>
          <a:xfrm>
            <a:off x="4322372" y="2816121"/>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2</a:t>
            </a:r>
          </a:p>
        </p:txBody>
      </p:sp>
      <p:sp>
        <p:nvSpPr>
          <p:cNvPr id="18" name="Text Placeholder 2"/>
          <p:cNvSpPr>
            <a:spLocks noGrp="1"/>
          </p:cNvSpPr>
          <p:nvPr>
            <p:ph type="body" sz="quarter" idx="17" hasCustomPrompt="1"/>
          </p:nvPr>
        </p:nvSpPr>
        <p:spPr>
          <a:xfrm>
            <a:off x="1083701" y="2816120"/>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1</a:t>
            </a:r>
          </a:p>
        </p:txBody>
      </p:sp>
      <p:sp>
        <p:nvSpPr>
          <p:cNvPr id="19" name="Text Placeholder 2"/>
          <p:cNvSpPr>
            <a:spLocks noGrp="1"/>
          </p:cNvSpPr>
          <p:nvPr>
            <p:ph type="body" sz="quarter" idx="18" hasCustomPrompt="1"/>
          </p:nvPr>
        </p:nvSpPr>
        <p:spPr>
          <a:xfrm>
            <a:off x="7560587" y="2816120"/>
            <a:ext cx="3213270" cy="386625"/>
          </a:xfrm>
        </p:spPr>
        <p:txBody>
          <a:bodyPr/>
          <a:lstStyle>
            <a:lvl1pPr marL="0" indent="0" algn="ctr">
              <a:buNone/>
              <a:defRPr sz="2000" b="1">
                <a:solidFill>
                  <a:srgbClr val="9C1521"/>
                </a:solidFill>
                <a:latin typeface="Arial" panose="020B0604020202020204" pitchFamily="34" charset="0"/>
                <a:cs typeface="Arial" panose="020B0604020202020204" pitchFamily="34" charset="0"/>
              </a:defRPr>
            </a:lvl1pPr>
          </a:lstStyle>
          <a:p>
            <a:pPr lvl="0"/>
            <a:r>
              <a:rPr lang="en-US"/>
              <a:t>Objective 3</a:t>
            </a:r>
          </a:p>
        </p:txBody>
      </p:sp>
      <p:cxnSp>
        <p:nvCxnSpPr>
          <p:cNvPr id="22" name="Straight Connector 21"/>
          <p:cNvCxnSpPr/>
          <p:nvPr userDrawn="1"/>
        </p:nvCxnSpPr>
        <p:spPr>
          <a:xfrm>
            <a:off x="7560587" y="2816120"/>
            <a:ext cx="0" cy="2530579"/>
          </a:xfrm>
          <a:prstGeom prst="line">
            <a:avLst/>
          </a:prstGeom>
          <a:ln>
            <a:solidFill>
              <a:srgbClr val="414042"/>
            </a:solidFill>
            <a:prstDash val="dash"/>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oject title</a:t>
            </a:r>
          </a:p>
        </p:txBody>
      </p:sp>
      <p:sp>
        <p:nvSpPr>
          <p:cNvPr id="30" name="Text Placeholder 29"/>
          <p:cNvSpPr>
            <a:spLocks noGrp="1"/>
          </p:cNvSpPr>
          <p:nvPr>
            <p:ph type="body" sz="quarter" idx="22" hasCustomPrompt="1"/>
          </p:nvPr>
        </p:nvSpPr>
        <p:spPr>
          <a:xfrm>
            <a:off x="387430" y="6054210"/>
            <a:ext cx="8600995" cy="355600"/>
          </a:xfrm>
        </p:spPr>
        <p:txBody>
          <a:bodyPr>
            <a:normAutofit/>
          </a:bodyPr>
          <a:lstStyle>
            <a:lvl1pPr marL="0" indent="0">
              <a:buNone/>
              <a:defRPr sz="2000" baseline="0">
                <a:solidFill>
                  <a:schemeClr val="bg2">
                    <a:lumMod val="50000"/>
                  </a:schemeClr>
                </a:solidFill>
                <a:latin typeface="Arial" panose="020B0604020202020204" pitchFamily="34" charset="0"/>
                <a:cs typeface="Arial" panose="020B0604020202020204" pitchFamily="34" charset="0"/>
              </a:defRPr>
            </a:lvl1pPr>
          </a:lstStyle>
          <a:p>
            <a:pPr lvl="0"/>
            <a:r>
              <a:rPr lang="en-US"/>
              <a:t>Insert text here which sums up your slide and acts as a key message</a:t>
            </a:r>
            <a:endParaRPr lang="en-GB"/>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21" name="Text Placeholder 2"/>
          <p:cNvSpPr>
            <a:spLocks noGrp="1"/>
          </p:cNvSpPr>
          <p:nvPr>
            <p:ph type="body" idx="23" hasCustomPrompt="1"/>
          </p:nvPr>
        </p:nvSpPr>
        <p:spPr>
          <a:xfrm>
            <a:off x="465372" y="1328814"/>
            <a:ext cx="10888428" cy="902007"/>
          </a:xfrm>
        </p:spPr>
        <p:txBody>
          <a:bodyPr anchor="t">
            <a:norm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More information in this box</a:t>
            </a:r>
          </a:p>
          <a:p>
            <a:pPr lvl="0"/>
            <a:endParaRPr lang="en-US"/>
          </a:p>
        </p:txBody>
      </p:sp>
      <p:sp>
        <p:nvSpPr>
          <p:cNvPr id="25" name="Text Placeholder 2"/>
          <p:cNvSpPr>
            <a:spLocks noGrp="1"/>
          </p:cNvSpPr>
          <p:nvPr>
            <p:ph type="body" idx="24" hasCustomPrompt="1"/>
          </p:nvPr>
        </p:nvSpPr>
        <p:spPr>
          <a:xfrm>
            <a:off x="1083701" y="3342018"/>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26" name="Text Placeholder 2"/>
          <p:cNvSpPr>
            <a:spLocks noGrp="1"/>
          </p:cNvSpPr>
          <p:nvPr>
            <p:ph type="body" idx="25" hasCustomPrompt="1"/>
          </p:nvPr>
        </p:nvSpPr>
        <p:spPr>
          <a:xfrm>
            <a:off x="4321915" y="3342017"/>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27" name="Text Placeholder 2"/>
          <p:cNvSpPr>
            <a:spLocks noGrp="1"/>
          </p:cNvSpPr>
          <p:nvPr>
            <p:ph type="body" idx="26" hasCustomPrompt="1"/>
          </p:nvPr>
        </p:nvSpPr>
        <p:spPr>
          <a:xfrm>
            <a:off x="7560587" y="3342016"/>
            <a:ext cx="3213270"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Tree>
    <p:extLst>
      <p:ext uri="{BB962C8B-B14F-4D97-AF65-F5344CB8AC3E}">
        <p14:creationId xmlns:p14="http://schemas.microsoft.com/office/powerpoint/2010/main" val="12562925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laboration slide">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Collaboration slide</a:t>
            </a:r>
          </a:p>
        </p:txBody>
      </p:sp>
      <p:sp>
        <p:nvSpPr>
          <p:cNvPr id="30" name="Text Placeholder 29"/>
          <p:cNvSpPr>
            <a:spLocks noGrp="1"/>
          </p:cNvSpPr>
          <p:nvPr>
            <p:ph type="body" sz="quarter" idx="22" hasCustomPrompt="1"/>
          </p:nvPr>
        </p:nvSpPr>
        <p:spPr>
          <a:xfrm>
            <a:off x="387430" y="6054210"/>
            <a:ext cx="8600995" cy="355600"/>
          </a:xfrm>
        </p:spPr>
        <p:txBody>
          <a:bodyPr>
            <a:normAutofit/>
          </a:bodyPr>
          <a:lstStyle>
            <a:lvl1pPr marL="0" indent="0">
              <a:buNone/>
              <a:defRPr sz="2000" baseline="0">
                <a:solidFill>
                  <a:schemeClr val="bg2">
                    <a:lumMod val="50000"/>
                  </a:schemeClr>
                </a:solidFill>
                <a:latin typeface="Arial" panose="020B0604020202020204" pitchFamily="34" charset="0"/>
                <a:cs typeface="Arial" panose="020B0604020202020204" pitchFamily="34" charset="0"/>
              </a:defRPr>
            </a:lvl1pPr>
          </a:lstStyle>
          <a:p>
            <a:pPr lvl="0"/>
            <a:r>
              <a:rPr lang="en-US"/>
              <a:t>Insert text here which sums up your slide and acts as a key message</a:t>
            </a:r>
            <a:endParaRPr lang="en-GB"/>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
        <p:nvSpPr>
          <p:cNvPr id="10" name="Text Placeholder 2"/>
          <p:cNvSpPr>
            <a:spLocks noGrp="1"/>
          </p:cNvSpPr>
          <p:nvPr>
            <p:ph type="body" idx="26" hasCustomPrompt="1"/>
          </p:nvPr>
        </p:nvSpPr>
        <p:spPr>
          <a:xfrm>
            <a:off x="7229510" y="2049696"/>
            <a:ext cx="3475275" cy="2004681"/>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Tree>
    <p:extLst>
      <p:ext uri="{BB962C8B-B14F-4D97-AF65-F5344CB8AC3E}">
        <p14:creationId xmlns:p14="http://schemas.microsoft.com/office/powerpoint/2010/main" val="4276339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sp>
        <p:nvSpPr>
          <p:cNvPr id="8" name="Rectangle 7"/>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65372" y="527884"/>
            <a:ext cx="10888428" cy="511175"/>
          </a:xfrm>
        </p:spPr>
        <p:txBody>
          <a:bodyPr>
            <a:norm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Key messages</a:t>
            </a:r>
          </a:p>
        </p:txBody>
      </p:sp>
      <p:sp>
        <p:nvSpPr>
          <p:cNvPr id="3" name="Text Placeholder 2"/>
          <p:cNvSpPr>
            <a:spLocks noGrp="1"/>
          </p:cNvSpPr>
          <p:nvPr>
            <p:ph type="body" sz="quarter" idx="23" hasCustomPrompt="1"/>
          </p:nvPr>
        </p:nvSpPr>
        <p:spPr>
          <a:xfrm>
            <a:off x="465138" y="1625600"/>
            <a:ext cx="10888662" cy="3657600"/>
          </a:xfr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3300" b="0" baseline="0">
                <a:solidFill>
                  <a:schemeClr val="bg2">
                    <a:lumMod val="50000"/>
                  </a:schemeClr>
                </a:solidFill>
                <a:latin typeface="Arial" panose="020B0604020202020204" pitchFamily="34" charset="0"/>
                <a:cs typeface="Arial" panose="020B0604020202020204" pitchFamily="34" charset="0"/>
              </a:defRPr>
            </a:lvl1pPr>
          </a:lstStyle>
          <a:p>
            <a:pPr lvl="0"/>
            <a:r>
              <a:rPr lang="en-US"/>
              <a:t>Round up your slides with key messages</a:t>
            </a:r>
          </a:p>
          <a:p>
            <a:pPr lvl="0"/>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Examples could be focusing on collabor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Keep your messages brief and to the point</a:t>
            </a:r>
          </a:p>
          <a:p>
            <a:pPr lvl="0"/>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34824551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lternative slide layout">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6912"/>
            <a:ext cx="12611700" cy="1804990"/>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Alternative slide layout</a:t>
            </a:r>
          </a:p>
        </p:txBody>
      </p:sp>
      <p:sp>
        <p:nvSpPr>
          <p:cNvPr id="16" name="Text Placeholder 2"/>
          <p:cNvSpPr>
            <a:spLocks noGrp="1"/>
          </p:cNvSpPr>
          <p:nvPr>
            <p:ph type="body" idx="14" hasCustomPrompt="1"/>
          </p:nvPr>
        </p:nvSpPr>
        <p:spPr>
          <a:xfrm>
            <a:off x="465373" y="2463258"/>
            <a:ext cx="4759770" cy="2070642"/>
          </a:xfrm>
        </p:spPr>
        <p:txBody>
          <a:bodyPr anchor="t">
            <a:normAutofit/>
          </a:bodyPr>
          <a:lstStyle>
            <a:lvl1pPr marL="0" indent="0">
              <a:buNone/>
              <a:defRPr sz="2000" b="0">
                <a:solidFill>
                  <a:schemeClr val="bg2">
                    <a:lumMod val="50000"/>
                  </a:schemeClr>
                </a:solidFill>
                <a:latin typeface="Arial" panose="020B0604020202020204" pitchFamily="34" charset="0"/>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Subtext about point number 2. Lorem ipsum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dolo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si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me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nsectetu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dipiscing</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li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se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do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iusmo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tempor</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incididun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labore</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dolore</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magna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liqua</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nim</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d minim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veniam</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quis</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nostrud</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xercitation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llamco</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laboris</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nisi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u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aliquip</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ex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ea</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mmodo</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r>
              <a:rPr lang="en-GB" sz="2000" err="1">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consequat</a:t>
            </a:r>
            <a:r>
              <a:rPr lang="en-GB" sz="2000">
                <a:solidFill>
                  <a:schemeClr val="bg2">
                    <a:lumMod val="50000"/>
                  </a:schemeClr>
                </a:solidFill>
                <a:latin typeface="Source Sans Pro" panose="020B0503030403020204" pitchFamily="34" charset="0"/>
                <a:ea typeface="Source Sans Pro" panose="020B0503030403020204" pitchFamily="34" charset="0"/>
                <a:cs typeface="Arial" panose="020B0604020202020204" pitchFamily="34" charset="0"/>
              </a:rPr>
              <a:t>. </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22799393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7A8EF72-47BB-484E-BE00-AAFE765AF250}" type="datetimeFigureOut">
              <a:rPr lang="en-GB" smtClean="0"/>
              <a:t>05/08/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8497401-C9CA-467B-B79F-2422128D1501}" type="slidenum">
              <a:rPr lang="en-GB" smtClean="0"/>
              <a:t>‹#›</a:t>
            </a:fld>
            <a:endParaRPr lang="en-GB"/>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4" y="2617624"/>
            <a:ext cx="12337143" cy="4421805"/>
          </a:xfrm>
          <a:prstGeom prst="rect">
            <a:avLst/>
          </a:prstGeom>
        </p:spPr>
      </p:pic>
      <p:sp>
        <p:nvSpPr>
          <p:cNvPr id="8" name="Title 1"/>
          <p:cNvSpPr>
            <a:spLocks noGrp="1"/>
          </p:cNvSpPr>
          <p:nvPr>
            <p:ph type="title" hasCustomPrompt="1"/>
          </p:nvPr>
        </p:nvSpPr>
        <p:spPr>
          <a:xfrm>
            <a:off x="465138" y="680284"/>
            <a:ext cx="11041062"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ymbols to illustrate key points</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82200" y="517931"/>
            <a:ext cx="1811496" cy="835880"/>
          </a:xfrm>
          <a:prstGeom prst="rect">
            <a:avLst/>
          </a:prstGeom>
        </p:spPr>
      </p:pic>
      <p:sp>
        <p:nvSpPr>
          <p:cNvPr id="10" name="Text Placeholder 2"/>
          <p:cNvSpPr>
            <a:spLocks noGrp="1"/>
          </p:cNvSpPr>
          <p:nvPr>
            <p:ph type="body" sz="quarter" idx="23" hasCustomPrompt="1"/>
          </p:nvPr>
        </p:nvSpPr>
        <p:spPr>
          <a:xfrm>
            <a:off x="465138" y="1625600"/>
            <a:ext cx="10888662" cy="3041650"/>
          </a:xfr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3300" b="0" baseline="0">
                <a:solidFill>
                  <a:schemeClr val="bg2">
                    <a:lumMod val="50000"/>
                  </a:schemeClr>
                </a:solidFill>
                <a:latin typeface="Arial" panose="020B0604020202020204" pitchFamily="34" charset="0"/>
                <a:cs typeface="Arial" panose="020B0604020202020204" pitchFamily="34" charset="0"/>
              </a:defRPr>
            </a:lvl1pPr>
          </a:lstStyle>
          <a:p>
            <a:pPr lvl="0"/>
            <a:r>
              <a:rPr lang="en-US"/>
              <a:t>Round up your slides with key messages</a:t>
            </a:r>
          </a:p>
          <a:p>
            <a:pPr lvl="0"/>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Examples could be focusing on collabor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Keep your messages brief and to the point</a:t>
            </a:r>
          </a:p>
          <a:p>
            <a:pPr lvl="0"/>
            <a:endParaRPr lang="en-US"/>
          </a:p>
        </p:txBody>
      </p:sp>
    </p:spTree>
    <p:extLst>
      <p:ext uri="{BB962C8B-B14F-4D97-AF65-F5344CB8AC3E}">
        <p14:creationId xmlns:p14="http://schemas.microsoft.com/office/powerpoint/2010/main" val="14053515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ymbol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6912"/>
            <a:ext cx="12611700" cy="1804990"/>
          </a:xfrm>
          <a:prstGeom prst="rect">
            <a:avLst/>
          </a:prstGeom>
        </p:spPr>
      </p:pic>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65372" y="527884"/>
            <a:ext cx="10888428" cy="511175"/>
          </a:xfrm>
        </p:spPr>
        <p:txBody>
          <a:bodyPr>
            <a:normAutofit/>
          </a:bodyPr>
          <a:lstStyle>
            <a:lvl1pPr>
              <a:defRPr sz="3200" b="1" baseline="0">
                <a:solidFill>
                  <a:srgbClr val="9C1521"/>
                </a:solidFill>
                <a:latin typeface="Arial" panose="020B0604020202020204" pitchFamily="34" charset="0"/>
                <a:cs typeface="Arial" panose="020B0604020202020204" pitchFamily="34" charset="0"/>
              </a:defRPr>
            </a:lvl1pPr>
          </a:lstStyle>
          <a:p>
            <a:r>
              <a:rPr lang="en-GB"/>
              <a:t>Symbols to illustrate key points</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spTree>
    <p:extLst>
      <p:ext uri="{BB962C8B-B14F-4D97-AF65-F5344CB8AC3E}">
        <p14:creationId xmlns:p14="http://schemas.microsoft.com/office/powerpoint/2010/main" val="3802321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3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5" name="Picture 4"/>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3506"/>
            <a:ext cx="12192000" cy="6921500"/>
          </a:xfrm>
          <a:prstGeom prst="rect">
            <a:avLst/>
          </a:prstGeom>
        </p:spPr>
      </p:pic>
    </p:spTree>
    <p:extLst>
      <p:ext uri="{BB962C8B-B14F-4D97-AF65-F5344CB8AC3E}">
        <p14:creationId xmlns:p14="http://schemas.microsoft.com/office/powerpoint/2010/main" val="5005686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7A8EF72-47BB-484E-BE00-AAFE765AF250}" type="datetimeFigureOut">
              <a:rPr lang="en-GB" smtClean="0"/>
              <a:t>05/08/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8497401-C9CA-467B-B79F-2422128D1501}" type="slidenum">
              <a:rPr lang="en-GB" smtClean="0"/>
              <a:t>‹#›</a:t>
            </a:fld>
            <a:endParaRPr lang="en-GB"/>
          </a:p>
        </p:txBody>
      </p:sp>
      <p:cxnSp>
        <p:nvCxnSpPr>
          <p:cNvPr id="6" name="Straight Connector 5"/>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46271" y="0"/>
            <a:ext cx="7845729" cy="3258457"/>
          </a:xfrm>
          <a:prstGeom prst="rect">
            <a:avLst/>
          </a:prstGeom>
        </p:spPr>
      </p:pic>
      <p:sp>
        <p:nvSpPr>
          <p:cNvPr id="9" name="Title 1"/>
          <p:cNvSpPr txBox="1">
            <a:spLocks/>
          </p:cNvSpPr>
          <p:nvPr userDrawn="1"/>
        </p:nvSpPr>
        <p:spPr>
          <a:xfrm>
            <a:off x="465372" y="527884"/>
            <a:ext cx="10888428" cy="51117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3200" b="1" kern="1200" baseline="0">
                <a:solidFill>
                  <a:srgbClr val="9C1521"/>
                </a:solidFill>
                <a:latin typeface="Arial" panose="020B0604020202020204" pitchFamily="34" charset="0"/>
                <a:ea typeface="+mj-ea"/>
                <a:cs typeface="Arial" panose="020B0604020202020204" pitchFamily="34" charset="0"/>
              </a:defRPr>
            </a:lvl1pPr>
          </a:lstStyle>
          <a:p>
            <a:r>
              <a:rPr lang="en-GB"/>
              <a:t>Symbols to illustrate key points</a:t>
            </a:r>
          </a:p>
        </p:txBody>
      </p:sp>
      <p:sp>
        <p:nvSpPr>
          <p:cNvPr id="10" name="Text Placeholder 2"/>
          <p:cNvSpPr>
            <a:spLocks noGrp="1"/>
          </p:cNvSpPr>
          <p:nvPr>
            <p:ph type="body" idx="26" hasCustomPrompt="1"/>
          </p:nvPr>
        </p:nvSpPr>
        <p:spPr>
          <a:xfrm>
            <a:off x="465372" y="1629229"/>
            <a:ext cx="3475275" cy="285298"/>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1</a:t>
            </a:r>
          </a:p>
        </p:txBody>
      </p:sp>
      <p:sp>
        <p:nvSpPr>
          <p:cNvPr id="11" name="Text Placeholder 2"/>
          <p:cNvSpPr>
            <a:spLocks noGrp="1"/>
          </p:cNvSpPr>
          <p:nvPr>
            <p:ph type="body" idx="30" hasCustomPrompt="1"/>
          </p:nvPr>
        </p:nvSpPr>
        <p:spPr>
          <a:xfrm>
            <a:off x="4346270" y="1629228"/>
            <a:ext cx="3475275" cy="285298"/>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2</a:t>
            </a:r>
          </a:p>
        </p:txBody>
      </p:sp>
      <p:sp>
        <p:nvSpPr>
          <p:cNvPr id="12" name="Text Placeholder 2"/>
          <p:cNvSpPr>
            <a:spLocks noGrp="1"/>
          </p:cNvSpPr>
          <p:nvPr>
            <p:ph type="body" idx="31" hasCustomPrompt="1"/>
          </p:nvPr>
        </p:nvSpPr>
        <p:spPr>
          <a:xfrm>
            <a:off x="465372" y="3858677"/>
            <a:ext cx="3475275" cy="26565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3</a:t>
            </a:r>
          </a:p>
        </p:txBody>
      </p:sp>
      <p:sp>
        <p:nvSpPr>
          <p:cNvPr id="13" name="Text Placeholder 2"/>
          <p:cNvSpPr>
            <a:spLocks noGrp="1"/>
          </p:cNvSpPr>
          <p:nvPr>
            <p:ph type="body" idx="32" hasCustomPrompt="1"/>
          </p:nvPr>
        </p:nvSpPr>
        <p:spPr>
          <a:xfrm>
            <a:off x="4346270" y="3858676"/>
            <a:ext cx="3475275" cy="26565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oint 4</a:t>
            </a:r>
          </a:p>
        </p:txBody>
      </p:sp>
      <p:sp>
        <p:nvSpPr>
          <p:cNvPr id="14" name="Text Placeholder 2"/>
          <p:cNvSpPr>
            <a:spLocks noGrp="1"/>
          </p:cNvSpPr>
          <p:nvPr>
            <p:ph type="body" idx="24" hasCustomPrompt="1"/>
          </p:nvPr>
        </p:nvSpPr>
        <p:spPr>
          <a:xfrm>
            <a:off x="465371" y="20787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5" name="Text Placeholder 2"/>
          <p:cNvSpPr>
            <a:spLocks noGrp="1"/>
          </p:cNvSpPr>
          <p:nvPr>
            <p:ph type="body" idx="33" hasCustomPrompt="1"/>
          </p:nvPr>
        </p:nvSpPr>
        <p:spPr>
          <a:xfrm>
            <a:off x="4346270" y="20787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6" name="Text Placeholder 2"/>
          <p:cNvSpPr>
            <a:spLocks noGrp="1"/>
          </p:cNvSpPr>
          <p:nvPr>
            <p:ph type="body" idx="34" hasCustomPrompt="1"/>
          </p:nvPr>
        </p:nvSpPr>
        <p:spPr>
          <a:xfrm>
            <a:off x="465371" y="42885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
        <p:nvSpPr>
          <p:cNvPr id="17" name="Text Placeholder 2"/>
          <p:cNvSpPr>
            <a:spLocks noGrp="1"/>
          </p:cNvSpPr>
          <p:nvPr>
            <p:ph type="body" idx="35" hasCustomPrompt="1"/>
          </p:nvPr>
        </p:nvSpPr>
        <p:spPr>
          <a:xfrm>
            <a:off x="4346270" y="4288585"/>
            <a:ext cx="3475275" cy="1385030"/>
          </a:xfrm>
        </p:spPr>
        <p:txBody>
          <a:bodyPr anchor="t">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baseline="0">
                <a:solidFill>
                  <a:schemeClr val="bg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re information in this box</a:t>
            </a:r>
          </a:p>
        </p:txBody>
      </p:sp>
    </p:spTree>
    <p:extLst>
      <p:ext uri="{BB962C8B-B14F-4D97-AF65-F5344CB8AC3E}">
        <p14:creationId xmlns:p14="http://schemas.microsoft.com/office/powerpoint/2010/main" val="13869639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215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4"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dirty="0">
                <a:solidFill>
                  <a:schemeClr val="bg2">
                    <a:lumMod val="50000"/>
                  </a:schemeClr>
                </a:solidFill>
                <a:latin typeface="Arial" panose="020B0604020202020204" pitchFamily="34" charset="0"/>
                <a:cs typeface="Arial" panose="020B0604020202020204" pitchFamily="34" charset="0"/>
              </a:rPr>
              <a:t>© 2024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dirty="0"/>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resentation subtitle</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dirty="0"/>
              <a:t>Name, title or other information</a:t>
            </a:r>
          </a:p>
        </p:txBody>
      </p:sp>
      <p:pic>
        <p:nvPicPr>
          <p:cNvPr id="6" name="Picture 5" descr="A blue circle with white text and red and white text&#10;&#10;Description automatically generated">
            <a:extLst>
              <a:ext uri="{FF2B5EF4-FFF2-40B4-BE49-F238E27FC236}">
                <a16:creationId xmlns:a16="http://schemas.microsoft.com/office/drawing/2014/main" id="{8DB9769D-72B2-BF53-4C63-A660730A3D2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45718" y="5549271"/>
            <a:ext cx="859938" cy="859938"/>
          </a:xfrm>
          <a:prstGeom prst="rect">
            <a:avLst/>
          </a:prstGeom>
        </p:spPr>
      </p:pic>
    </p:spTree>
    <p:extLst>
      <p:ext uri="{BB962C8B-B14F-4D97-AF65-F5344CB8AC3E}">
        <p14:creationId xmlns:p14="http://schemas.microsoft.com/office/powerpoint/2010/main" val="1387243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4801" y="3861554"/>
            <a:ext cx="2137235" cy="986185"/>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t="20701" b="25871"/>
          <a:stretch/>
        </p:blipFill>
        <p:spPr>
          <a:xfrm>
            <a:off x="402155" y="5780672"/>
            <a:ext cx="1819969" cy="487717"/>
          </a:xfrm>
          <a:prstGeom prst="rect">
            <a:avLst/>
          </a:prstGeom>
        </p:spPr>
      </p:pic>
      <p:pic>
        <p:nvPicPr>
          <p:cNvPr id="15" name="Picture 1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13012" y="5828251"/>
            <a:ext cx="1075438" cy="464402"/>
          </a:xfrm>
          <a:prstGeom prst="rect">
            <a:avLst/>
          </a:prstGeom>
        </p:spPr>
      </p:pic>
      <p:sp>
        <p:nvSpPr>
          <p:cNvPr id="17" name="TextBox 16"/>
          <p:cNvSpPr txBox="1"/>
          <p:nvPr userDrawn="1"/>
        </p:nvSpPr>
        <p:spPr>
          <a:xfrm>
            <a:off x="370915" y="6421029"/>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1 UK Power Networks. All rights reserved</a:t>
            </a:r>
          </a:p>
        </p:txBody>
      </p:sp>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79339" y="5617163"/>
            <a:ext cx="675490" cy="675490"/>
          </a:xfrm>
          <a:prstGeom prst="rect">
            <a:avLst/>
          </a:prstGeom>
        </p:spPr>
      </p:pic>
      <p:cxnSp>
        <p:nvCxnSpPr>
          <p:cNvPr id="14" name="Straight Connector 13"/>
          <p:cNvCxnSpPr/>
          <p:nvPr userDrawn="1"/>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2" name="Picture 1"/>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88900"/>
            <a:ext cx="12192000" cy="6959600"/>
          </a:xfrm>
          <a:prstGeom prst="rect">
            <a:avLst/>
          </a:prstGeom>
        </p:spPr>
      </p:pic>
    </p:spTree>
    <p:extLst>
      <p:ext uri="{BB962C8B-B14F-4D97-AF65-F5344CB8AC3E}">
        <p14:creationId xmlns:p14="http://schemas.microsoft.com/office/powerpoint/2010/main" val="3929328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Box 9"/>
          <p:cNvSpPr txBox="1"/>
          <p:nvPr userDrawn="1"/>
        </p:nvSpPr>
        <p:spPr>
          <a:xfrm>
            <a:off x="466960" y="562218"/>
            <a:ext cx="7302110" cy="584775"/>
          </a:xfrm>
          <a:prstGeom prst="rect">
            <a:avLst/>
          </a:prstGeom>
          <a:noFill/>
        </p:spPr>
        <p:txBody>
          <a:bodyPr wrap="square" rtlCol="0">
            <a:spAutoFit/>
          </a:bodyPr>
          <a:lstStyle/>
          <a:p>
            <a:r>
              <a:rPr lang="en-GB" sz="3200" b="1">
                <a:solidFill>
                  <a:srgbClr val="9C1420"/>
                </a:solidFill>
                <a:latin typeface="Arial" panose="020B0604020202020204" pitchFamily="34" charset="0"/>
                <a:cs typeface="Arial" panose="020B0604020202020204" pitchFamily="34" charset="0"/>
              </a:rPr>
              <a:t>About UK Power Networks</a:t>
            </a:r>
          </a:p>
        </p:txBody>
      </p:sp>
      <p:sp>
        <p:nvSpPr>
          <p:cNvPr id="12" name="Rectangle 11"/>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Straight Connector 12"/>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9428" y="2165417"/>
            <a:ext cx="15844877" cy="3944454"/>
          </a:xfrm>
          <a:prstGeom prst="rect">
            <a:avLst/>
          </a:prstGeom>
        </p:spPr>
      </p:pic>
      <p:sp>
        <p:nvSpPr>
          <p:cNvPr id="4" name="TextBox 3">
            <a:extLst>
              <a:ext uri="{FF2B5EF4-FFF2-40B4-BE49-F238E27FC236}">
                <a16:creationId xmlns:a16="http://schemas.microsoft.com/office/drawing/2014/main" id="{6F373A87-2DD6-4327-84BB-5FEBCF9C286B}"/>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2817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ur vision">
    <p:spTree>
      <p:nvGrpSpPr>
        <p:cNvPr id="1" name=""/>
        <p:cNvGrpSpPr/>
        <p:nvPr/>
      </p:nvGrpSpPr>
      <p:grpSpPr>
        <a:xfrm>
          <a:off x="0" y="0"/>
          <a:ext cx="0" cy="0"/>
          <a:chOff x="0" y="0"/>
          <a:chExt cx="0" cy="0"/>
        </a:xfrm>
      </p:grpSpPr>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userDrawn="1"/>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876" y="1754128"/>
            <a:ext cx="10058400" cy="3063035"/>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9244" y="5707117"/>
            <a:ext cx="1811496" cy="835880"/>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4251" y="5446537"/>
            <a:ext cx="7907197" cy="938865"/>
          </a:xfrm>
          <a:prstGeom prst="rect">
            <a:avLst/>
          </a:prstGeom>
        </p:spPr>
      </p:pic>
      <p:pic>
        <p:nvPicPr>
          <p:cNvPr id="4" name="Picture 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87430" y="560638"/>
            <a:ext cx="7456054" cy="859611"/>
          </a:xfrm>
          <a:prstGeom prst="rect">
            <a:avLst/>
          </a:prstGeom>
        </p:spPr>
      </p:pic>
      <p:sp>
        <p:nvSpPr>
          <p:cNvPr id="8" name="TextBox 7">
            <a:extLst>
              <a:ext uri="{FF2B5EF4-FFF2-40B4-BE49-F238E27FC236}">
                <a16:creationId xmlns:a16="http://schemas.microsoft.com/office/drawing/2014/main" id="{20BCF2D8-D288-440F-83EC-A7EDEB3A3748}"/>
              </a:ext>
            </a:extLst>
          </p:cNvPr>
          <p:cNvSpPr txBox="1"/>
          <p:nvPr userDrawn="1"/>
        </p:nvSpPr>
        <p:spPr>
          <a:xfrm>
            <a:off x="10750609" y="6506762"/>
            <a:ext cx="1316052" cy="276999"/>
          </a:xfrm>
          <a:prstGeom prst="rect">
            <a:avLst/>
          </a:prstGeom>
          <a:noFill/>
        </p:spPr>
        <p:txBody>
          <a:bodyPr wrap="square" rtlCol="0">
            <a:spAutoFit/>
          </a:bodyPr>
          <a:lstStyle/>
          <a:p>
            <a:pPr algn="r"/>
            <a:fld id="{D466F3AC-B693-408C-86C4-00C93AD857DD}" type="slidenum">
              <a:rPr lang="en-US" sz="1200" smtClean="0">
                <a:solidFill>
                  <a:srgbClr val="9C1521"/>
                </a:solidFill>
                <a:latin typeface="Arial" panose="020B0604020202020204" pitchFamily="34" charset="0"/>
                <a:cs typeface="Arial" panose="020B0604020202020204" pitchFamily="34" charset="0"/>
              </a:rPr>
              <a:t>‹#›</a:t>
            </a:fld>
            <a:endParaRPr lang="en-GB" sz="1200">
              <a:solidFill>
                <a:srgbClr val="9C15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5953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1A8288-9370-4DE2-BEC7-9D902701370A}" type="datetime1">
              <a:rPr lang="en-GB" smtClean="0"/>
              <a:t>05/08/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497401-C9CA-467B-B79F-2422128D1501}" type="slidenum">
              <a:rPr lang="en-GB" smtClean="0"/>
              <a:t>‹#›</a:t>
            </a:fld>
            <a:endParaRPr lang="en-GB"/>
          </a:p>
        </p:txBody>
      </p:sp>
    </p:spTree>
    <p:extLst>
      <p:ext uri="{BB962C8B-B14F-4D97-AF65-F5344CB8AC3E}">
        <p14:creationId xmlns:p14="http://schemas.microsoft.com/office/powerpoint/2010/main" val="1256198699"/>
      </p:ext>
    </p:extLst>
  </p:cSld>
  <p:clrMap bg1="lt1" tx1="dk1" bg2="lt2" tx2="dk2" accent1="accent1" accent2="accent2" accent3="accent3" accent4="accent4" accent5="accent5" accent6="accent6" hlink="hlink" folHlink="folHlink"/>
  <p:sldLayoutIdLst>
    <p:sldLayoutId id="2147483655" r:id="rId1"/>
    <p:sldLayoutId id="2147483649" r:id="rId2"/>
    <p:sldLayoutId id="2147483674" r:id="rId3"/>
    <p:sldLayoutId id="2147483675" r:id="rId4"/>
    <p:sldLayoutId id="2147483676" r:id="rId5"/>
    <p:sldLayoutId id="2147483704" r:id="rId6"/>
    <p:sldLayoutId id="2147483677" r:id="rId7"/>
    <p:sldLayoutId id="2147483650" r:id="rId8"/>
    <p:sldLayoutId id="2147483651" r:id="rId9"/>
    <p:sldLayoutId id="2147483652" r:id="rId10"/>
    <p:sldLayoutId id="2147483653" r:id="rId11"/>
    <p:sldLayoutId id="2147483660" r:id="rId12"/>
    <p:sldLayoutId id="2147483662" r:id="rId13"/>
    <p:sldLayoutId id="2147483656"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2" r:id="rId23"/>
    <p:sldLayoutId id="2147483671" r:id="rId24"/>
    <p:sldLayoutId id="2147483673" r:id="rId25"/>
    <p:sldLayoutId id="2147483703"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A8EF72-47BB-484E-BE00-AAFE765AF250}" type="datetimeFigureOut">
              <a:rPr lang="en-GB" smtClean="0"/>
              <a:t>05/08/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497401-C9CA-467B-B79F-2422128D1501}" type="slidenum">
              <a:rPr lang="en-GB" smtClean="0"/>
              <a:t>‹#›</a:t>
            </a:fld>
            <a:endParaRPr lang="en-GB"/>
          </a:p>
        </p:txBody>
      </p:sp>
    </p:spTree>
    <p:extLst>
      <p:ext uri="{BB962C8B-B14F-4D97-AF65-F5344CB8AC3E}">
        <p14:creationId xmlns:p14="http://schemas.microsoft.com/office/powerpoint/2010/main" val="139917372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 Id="rId9" Type="http://schemas.openxmlformats.org/officeDocument/2006/relationships/image" Target="../media/image28.jpeg"/></Relationships>
</file>

<file path=ppt/slides/_rels/slide12.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46.svg"/><Relationship Id="rId11" Type="http://schemas.openxmlformats.org/officeDocument/2006/relationships/image" Target="../media/image51.sv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svg"/></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svg"/><Relationship Id="rId3" Type="http://schemas.openxmlformats.org/officeDocument/2006/relationships/image" Target="../media/image47.png"/><Relationship Id="rId7" Type="http://schemas.openxmlformats.org/officeDocument/2006/relationships/image" Target="../media/image46.svg"/><Relationship Id="rId12"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49.svg"/><Relationship Id="rId11" Type="http://schemas.openxmlformats.org/officeDocument/2006/relationships/image" Target="../media/image44.svg"/><Relationship Id="rId5" Type="http://schemas.openxmlformats.org/officeDocument/2006/relationships/image" Target="../media/image45.png"/><Relationship Id="rId10" Type="http://schemas.openxmlformats.org/officeDocument/2006/relationships/image" Target="../media/image43.png"/><Relationship Id="rId4" Type="http://schemas.openxmlformats.org/officeDocument/2006/relationships/image" Target="../media/image48.svg"/><Relationship Id="rId9" Type="http://schemas.openxmlformats.org/officeDocument/2006/relationships/image" Target="../media/image51.svg"/><Relationship Id="rId14" Type="http://schemas.openxmlformats.org/officeDocument/2006/relationships/image" Target="../media/image28.jpeg"/></Relationships>
</file>

<file path=ppt/slides/_rels/slide14.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28.jpe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57.sv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40.svg"/><Relationship Id="rId11" Type="http://schemas.openxmlformats.org/officeDocument/2006/relationships/image" Target="../media/image56.png"/><Relationship Id="rId5" Type="http://schemas.openxmlformats.org/officeDocument/2006/relationships/image" Target="../media/image39.png"/><Relationship Id="rId10" Type="http://schemas.openxmlformats.org/officeDocument/2006/relationships/image" Target="../media/image55.svg"/><Relationship Id="rId4" Type="http://schemas.openxmlformats.org/officeDocument/2006/relationships/image" Target="../media/image38.svg"/><Relationship Id="rId9" Type="http://schemas.openxmlformats.org/officeDocument/2006/relationships/image" Target="../media/image54.png"/></Relationships>
</file>

<file path=ppt/slides/_rels/slide15.xml.rels><?xml version="1.0" encoding="UTF-8" standalone="yes"?>
<Relationships xmlns="http://schemas.openxmlformats.org/package/2006/relationships"><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44.svg"/><Relationship Id="rId3" Type="http://schemas.openxmlformats.org/officeDocument/2006/relationships/image" Target="../media/image58.png"/><Relationship Id="rId21" Type="http://schemas.openxmlformats.org/officeDocument/2006/relationships/image" Target="../media/image76.png"/><Relationship Id="rId34" Type="http://schemas.openxmlformats.org/officeDocument/2006/relationships/image" Target="../media/image85.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43.png"/><Relationship Id="rId33" Type="http://schemas.microsoft.com/office/2007/relationships/hdphoto" Target="../media/hdphoto1.wdp"/><Relationship Id="rId2" Type="http://schemas.openxmlformats.org/officeDocument/2006/relationships/notesSlide" Target="../notesSlides/notesSlide9.xml"/><Relationship Id="rId16" Type="http://schemas.openxmlformats.org/officeDocument/2006/relationships/image" Target="../media/image71.png"/><Relationship Id="rId20" Type="http://schemas.openxmlformats.org/officeDocument/2006/relationships/image" Target="../media/image75.png"/><Relationship Id="rId29" Type="http://schemas.openxmlformats.org/officeDocument/2006/relationships/image" Target="../media/image82.png"/><Relationship Id="rId1" Type="http://schemas.openxmlformats.org/officeDocument/2006/relationships/slideLayout" Target="../slideLayouts/slideLayout21.xml"/><Relationship Id="rId6" Type="http://schemas.openxmlformats.org/officeDocument/2006/relationships/image" Target="../media/image61.png"/><Relationship Id="rId11" Type="http://schemas.openxmlformats.org/officeDocument/2006/relationships/image" Target="../media/image66.png"/><Relationship Id="rId24" Type="http://schemas.openxmlformats.org/officeDocument/2006/relationships/image" Target="../media/image79.svg"/><Relationship Id="rId32" Type="http://schemas.openxmlformats.org/officeDocument/2006/relationships/image" Target="../media/image84.png"/><Relationship Id="rId5" Type="http://schemas.openxmlformats.org/officeDocument/2006/relationships/image" Target="../media/image60.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1.svg"/><Relationship Id="rId10" Type="http://schemas.openxmlformats.org/officeDocument/2006/relationships/image" Target="../media/image65.png"/><Relationship Id="rId19" Type="http://schemas.openxmlformats.org/officeDocument/2006/relationships/image" Target="../media/image74.png"/><Relationship Id="rId31" Type="http://schemas.openxmlformats.org/officeDocument/2006/relationships/image" Target="../media/image28.jpe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7.svg"/><Relationship Id="rId27" Type="http://schemas.openxmlformats.org/officeDocument/2006/relationships/image" Target="../media/image80.png"/><Relationship Id="rId30" Type="http://schemas.openxmlformats.org/officeDocument/2006/relationships/image" Target="../media/image83.svg"/><Relationship Id="rId8" Type="http://schemas.openxmlformats.org/officeDocument/2006/relationships/image" Target="../media/image63.png"/></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1.xml"/><Relationship Id="rId1" Type="http://schemas.openxmlformats.org/officeDocument/2006/relationships/slideLayout" Target="../slideLayouts/slideLayout46.xml"/><Relationship Id="rId6" Type="http://schemas.openxmlformats.org/officeDocument/2006/relationships/image" Target="../media/image88.png"/><Relationship Id="rId5" Type="http://schemas.openxmlformats.org/officeDocument/2006/relationships/image" Target="../media/image28.jpeg"/><Relationship Id="rId4" Type="http://schemas.openxmlformats.org/officeDocument/2006/relationships/image" Target="../media/image87.png"/></Relationships>
</file>

<file path=ppt/slides/_rels/slide18.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svg"/></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hyperlink" Target="https://www.wardhadaway.com/insights/updates/social-housing-speed-read-the-impact-of-the-scrapped-epc-policy-on-the-social-housing-sector/" TargetMode="External"/><Relationship Id="rId2" Type="http://schemas.openxmlformats.org/officeDocument/2006/relationships/hyperlink" Target="https://www.rightmove.co.uk/news/articles/property-news/average-uk-energy-bills-how-to-save-money/" TargetMode="External"/><Relationship Id="rId1" Type="http://schemas.openxmlformats.org/officeDocument/2006/relationships/slideLayout" Target="../slideLayouts/slideLayout21.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1.xml"/><Relationship Id="rId6" Type="http://schemas.openxmlformats.org/officeDocument/2006/relationships/image" Target="../media/image27.png"/><Relationship Id="rId5" Type="http://schemas.openxmlformats.org/officeDocument/2006/relationships/chart" Target="../charts/chart4.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6.png"/><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2D24-50AB-2059-1F9D-CA2659AECC17}"/>
              </a:ext>
            </a:extLst>
          </p:cNvPr>
          <p:cNvSpPr>
            <a:spLocks noGrp="1"/>
          </p:cNvSpPr>
          <p:nvPr>
            <p:ph type="title"/>
          </p:nvPr>
        </p:nvSpPr>
        <p:spPr/>
        <p:txBody>
          <a:bodyPr/>
          <a:lstStyle/>
          <a:p>
            <a:r>
              <a:rPr lang="en-GB" dirty="0"/>
              <a:t>Flex Direct</a:t>
            </a:r>
          </a:p>
        </p:txBody>
      </p:sp>
      <p:sp>
        <p:nvSpPr>
          <p:cNvPr id="3" name="Text Placeholder 2">
            <a:extLst>
              <a:ext uri="{FF2B5EF4-FFF2-40B4-BE49-F238E27FC236}">
                <a16:creationId xmlns:a16="http://schemas.microsoft.com/office/drawing/2014/main" id="{6B76F2C8-8B8C-36F3-4F65-BCF0B9C7E315}"/>
              </a:ext>
            </a:extLst>
          </p:cNvPr>
          <p:cNvSpPr>
            <a:spLocks noGrp="1"/>
          </p:cNvSpPr>
          <p:nvPr>
            <p:ph type="body" idx="1"/>
          </p:nvPr>
        </p:nvSpPr>
        <p:spPr/>
        <p:txBody>
          <a:bodyPr/>
          <a:lstStyle/>
          <a:p>
            <a:r>
              <a:rPr lang="en-GB" dirty="0"/>
              <a:t>SIF Discovery Phase</a:t>
            </a:r>
            <a:endParaRPr lang="en-GB" sz="2000" dirty="0"/>
          </a:p>
        </p:txBody>
      </p:sp>
      <p:sp>
        <p:nvSpPr>
          <p:cNvPr id="4" name="Text Placeholder 3">
            <a:extLst>
              <a:ext uri="{FF2B5EF4-FFF2-40B4-BE49-F238E27FC236}">
                <a16:creationId xmlns:a16="http://schemas.microsoft.com/office/drawing/2014/main" id="{4F9FDB71-E65E-A00D-979D-223BC70C31A9}"/>
              </a:ext>
            </a:extLst>
          </p:cNvPr>
          <p:cNvSpPr>
            <a:spLocks noGrp="1"/>
          </p:cNvSpPr>
          <p:nvPr>
            <p:ph type="body" sz="quarter" idx="10"/>
          </p:nvPr>
        </p:nvSpPr>
        <p:spPr>
          <a:xfrm>
            <a:off x="370915" y="4984548"/>
            <a:ext cx="5422913" cy="451210"/>
          </a:xfrm>
        </p:spPr>
        <p:txBody>
          <a:bodyPr>
            <a:normAutofit/>
          </a:bodyPr>
          <a:lstStyle/>
          <a:p>
            <a:r>
              <a:rPr lang="en-GB" sz="1400" dirty="0"/>
              <a:t>End of Phase Meeting</a:t>
            </a:r>
          </a:p>
          <a:p>
            <a:endParaRPr lang="en-GB" dirty="0"/>
          </a:p>
        </p:txBody>
      </p:sp>
      <p:pic>
        <p:nvPicPr>
          <p:cNvPr id="5" name="Picture 4" descr="A sun with text on it&#10;&#10;Description automatically generated">
            <a:extLst>
              <a:ext uri="{FF2B5EF4-FFF2-40B4-BE49-F238E27FC236}">
                <a16:creationId xmlns:a16="http://schemas.microsoft.com/office/drawing/2014/main" id="{5E692475-003A-BA98-A79B-E0647DCF31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7550" y="3744299"/>
            <a:ext cx="2371726" cy="1127863"/>
          </a:xfrm>
          <a:prstGeom prst="rect">
            <a:avLst/>
          </a:prstGeom>
        </p:spPr>
      </p:pic>
      <p:pic>
        <p:nvPicPr>
          <p:cNvPr id="6" name="Picture 5" descr="A blue text on a black background&#10;&#10;Description automatically generated">
            <a:extLst>
              <a:ext uri="{FF2B5EF4-FFF2-40B4-BE49-F238E27FC236}">
                <a16:creationId xmlns:a16="http://schemas.microsoft.com/office/drawing/2014/main" id="{809C956D-90CB-5873-04BB-7F4F903BB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61723" y="4990011"/>
            <a:ext cx="2009868" cy="730744"/>
          </a:xfrm>
          <a:prstGeom prst="rect">
            <a:avLst/>
          </a:prstGeom>
        </p:spPr>
      </p:pic>
      <p:pic>
        <p:nvPicPr>
          <p:cNvPr id="7" name="Picture 6" descr="Sia Partners Introduces SiaGPT | Business Wire">
            <a:extLst>
              <a:ext uri="{FF2B5EF4-FFF2-40B4-BE49-F238E27FC236}">
                <a16:creationId xmlns:a16="http://schemas.microsoft.com/office/drawing/2014/main" id="{6542F65D-42F7-C906-42F4-BE0F79D2B2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6676" y="5049736"/>
            <a:ext cx="2766200" cy="322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0551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F28D4-F7C5-5F83-4709-A11774C20E1C}"/>
              </a:ext>
            </a:extLst>
          </p:cNvPr>
          <p:cNvSpPr>
            <a:spLocks noGrp="1"/>
          </p:cNvSpPr>
          <p:nvPr>
            <p:ph type="title"/>
          </p:nvPr>
        </p:nvSpPr>
        <p:spPr/>
        <p:txBody>
          <a:bodyPr>
            <a:normAutofit fontScale="90000"/>
          </a:bodyPr>
          <a:lstStyle/>
          <a:p>
            <a:r>
              <a:rPr lang="en-GB"/>
              <a:t>Key messages</a:t>
            </a:r>
          </a:p>
        </p:txBody>
      </p:sp>
      <p:sp>
        <p:nvSpPr>
          <p:cNvPr id="10" name="Text Placeholder 2">
            <a:extLst>
              <a:ext uri="{FF2B5EF4-FFF2-40B4-BE49-F238E27FC236}">
                <a16:creationId xmlns:a16="http://schemas.microsoft.com/office/drawing/2014/main" id="{C32783E2-32B4-FDEA-82AE-14EB8EBC7C6D}"/>
              </a:ext>
            </a:extLst>
          </p:cNvPr>
          <p:cNvSpPr>
            <a:spLocks noGrp="1"/>
          </p:cNvSpPr>
          <p:nvPr>
            <p:ph type="body" sz="quarter" idx="23"/>
          </p:nvPr>
        </p:nvSpPr>
        <p:spPr>
          <a:xfrm>
            <a:off x="465138" y="1318683"/>
            <a:ext cx="10888662" cy="4226560"/>
          </a:xfrm>
        </p:spPr>
        <p:txBody>
          <a:bodyPr>
            <a:normAutofit fontScale="40000" lnSpcReduction="20000"/>
          </a:bodyPr>
          <a:lstStyle/>
          <a:p>
            <a:pPr marL="0" indent="0">
              <a:lnSpc>
                <a:spcPct val="120000"/>
              </a:lnSpc>
              <a:buNone/>
            </a:pPr>
            <a:r>
              <a:rPr lang="en-GB" sz="4000" dirty="0">
                <a:solidFill>
                  <a:schemeClr val="tx1"/>
                </a:solidFill>
              </a:rPr>
              <a:t>What worked well in the engagement phase?</a:t>
            </a:r>
          </a:p>
          <a:p>
            <a:pPr>
              <a:lnSpc>
                <a:spcPct val="120000"/>
              </a:lnSpc>
            </a:pPr>
            <a:r>
              <a:rPr lang="en-GB" sz="3500" dirty="0">
                <a:latin typeface="Arial" panose="020B0604020202020204" pitchFamily="34" charset="0"/>
                <a:cs typeface="Arial" panose="020B0604020202020204" pitchFamily="34" charset="0"/>
              </a:rPr>
              <a:t>Well-designed background information materials and comms</a:t>
            </a:r>
          </a:p>
          <a:p>
            <a:pPr>
              <a:lnSpc>
                <a:spcPct val="120000"/>
              </a:lnSpc>
            </a:pPr>
            <a:r>
              <a:rPr lang="en-GB" sz="3500" dirty="0">
                <a:latin typeface="Arial" panose="020B0604020202020204" pitchFamily="34" charset="0"/>
                <a:cs typeface="Arial" panose="020B0604020202020204" pitchFamily="34" charset="0"/>
              </a:rPr>
              <a:t>Tailored contact with local authorities and social housing providers</a:t>
            </a:r>
          </a:p>
          <a:p>
            <a:pPr>
              <a:lnSpc>
                <a:spcPct val="120000"/>
              </a:lnSpc>
            </a:pPr>
            <a:r>
              <a:rPr lang="en-GB" sz="3500" dirty="0">
                <a:latin typeface="Arial" panose="020B0604020202020204" pitchFamily="34" charset="0"/>
                <a:cs typeface="Arial" panose="020B0604020202020204" pitchFamily="34" charset="0"/>
              </a:rPr>
              <a:t>Most providers were already implementing energy efficiency retrofits</a:t>
            </a:r>
          </a:p>
          <a:p>
            <a:pPr>
              <a:lnSpc>
                <a:spcPct val="120000"/>
              </a:lnSpc>
            </a:pPr>
            <a:r>
              <a:rPr lang="en-GB" sz="3500" dirty="0">
                <a:latin typeface="Arial" panose="020B0604020202020204" pitchFamily="34" charset="0"/>
                <a:cs typeface="Arial" panose="020B0604020202020204" pitchFamily="34" charset="0"/>
              </a:rPr>
              <a:t>Providers are open to a variety of funding streams for energy efficiency retrofits, which presents an opportunity to make the case for their monitoring requirements to align with those of Flex Direct</a:t>
            </a:r>
          </a:p>
          <a:p>
            <a:pPr lvl="1">
              <a:lnSpc>
                <a:spcPct val="120000"/>
              </a:lnSpc>
            </a:pPr>
            <a:endParaRPr lang="en-GB" dirty="0">
              <a:latin typeface="Arial" panose="020B0604020202020204" pitchFamily="34" charset="0"/>
              <a:cs typeface="Arial" panose="020B0604020202020204" pitchFamily="34" charset="0"/>
            </a:endParaRPr>
          </a:p>
          <a:p>
            <a:pPr marL="0" indent="0">
              <a:lnSpc>
                <a:spcPct val="120000"/>
              </a:lnSpc>
              <a:buNone/>
            </a:pPr>
            <a:r>
              <a:rPr lang="en-GB" sz="4000" dirty="0">
                <a:solidFill>
                  <a:schemeClr val="tx1"/>
                </a:solidFill>
              </a:rPr>
              <a:t>What is needed going forward?</a:t>
            </a:r>
          </a:p>
          <a:p>
            <a:pPr>
              <a:lnSpc>
                <a:spcPct val="120000"/>
              </a:lnSpc>
            </a:pPr>
            <a:r>
              <a:rPr lang="en-GB" sz="3500" dirty="0">
                <a:latin typeface="Arial" panose="020B0604020202020204" pitchFamily="34" charset="0"/>
                <a:cs typeface="Arial" panose="020B0604020202020204" pitchFamily="34" charset="0"/>
              </a:rPr>
              <a:t>Guidance on terms of the Flex Direct contract, which should avoid penalising providers for failing to reach targets </a:t>
            </a:r>
          </a:p>
          <a:p>
            <a:pPr>
              <a:lnSpc>
                <a:spcPct val="120000"/>
              </a:lnSpc>
            </a:pPr>
            <a:r>
              <a:rPr lang="en-GB" sz="3500" dirty="0">
                <a:latin typeface="Arial" panose="020B0604020202020204" pitchFamily="34" charset="0"/>
                <a:cs typeface="Arial" panose="020B0604020202020204" pitchFamily="34" charset="0"/>
              </a:rPr>
              <a:t>Clarity on what would constitute effective demand reducing measures that would be suitable for Flex Direct</a:t>
            </a:r>
          </a:p>
          <a:p>
            <a:pPr>
              <a:lnSpc>
                <a:spcPct val="120000"/>
              </a:lnSpc>
            </a:pPr>
            <a:r>
              <a:rPr lang="en-GB" sz="3500" dirty="0">
                <a:latin typeface="Arial" panose="020B0604020202020204" pitchFamily="34" charset="0"/>
                <a:cs typeface="Arial" panose="020B0604020202020204" pitchFamily="34" charset="0"/>
              </a:rPr>
              <a:t>Information on the level of financial reward available to ensure participation in Flex Direct is worth the investment required to participate (especially in relation to demonstrating reduced demand)</a:t>
            </a:r>
          </a:p>
          <a:p>
            <a:pPr>
              <a:lnSpc>
                <a:spcPct val="120000"/>
              </a:lnSpc>
            </a:pPr>
            <a:r>
              <a:rPr lang="en-GB" sz="3500" dirty="0">
                <a:latin typeface="Arial" panose="020B0604020202020204" pitchFamily="34" charset="0"/>
                <a:cs typeface="Arial" panose="020B0604020202020204" pitchFamily="34" charset="0"/>
              </a:rPr>
              <a:t>Guidance on best practice for data sharing in relation to demonstrating demand reduction</a:t>
            </a:r>
          </a:p>
          <a:p>
            <a:pPr>
              <a:lnSpc>
                <a:spcPct val="120000"/>
              </a:lnSpc>
            </a:pPr>
            <a:endParaRPr lang="en-GB" dirty="0">
              <a:solidFill>
                <a:schemeClr val="tx1"/>
              </a:solidFill>
            </a:endParaRPr>
          </a:p>
        </p:txBody>
      </p:sp>
      <p:sp>
        <p:nvSpPr>
          <p:cNvPr id="3" name="Rectangle 2">
            <a:extLst>
              <a:ext uri="{FF2B5EF4-FFF2-40B4-BE49-F238E27FC236}">
                <a16:creationId xmlns:a16="http://schemas.microsoft.com/office/drawing/2014/main" id="{061611FF-34D8-F9FA-4B26-304FE34FA565}"/>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pic>
        <p:nvPicPr>
          <p:cNvPr id="4" name="Picture 3" descr="A sun with text on it&#10;&#10;Description automatically generated">
            <a:extLst>
              <a:ext uri="{FF2B5EF4-FFF2-40B4-BE49-F238E27FC236}">
                <a16:creationId xmlns:a16="http://schemas.microsoft.com/office/drawing/2014/main" id="{F2FA8EDE-8120-A895-3056-99F7D15DC0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51868" y="5726349"/>
            <a:ext cx="2171284" cy="1032544"/>
          </a:xfrm>
          <a:prstGeom prst="rect">
            <a:avLst/>
          </a:prstGeom>
        </p:spPr>
      </p:pic>
    </p:spTree>
    <p:extLst>
      <p:ext uri="{BB962C8B-B14F-4D97-AF65-F5344CB8AC3E}">
        <p14:creationId xmlns:p14="http://schemas.microsoft.com/office/powerpoint/2010/main" val="3187563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fontScale="90000"/>
          </a:bodyPr>
          <a:lstStyle/>
          <a:p>
            <a:r>
              <a:rPr lang="en-GB"/>
              <a:t>Work Package 2: Contractual Frameworks</a:t>
            </a:r>
          </a:p>
        </p:txBody>
      </p:sp>
      <p:sp>
        <p:nvSpPr>
          <p:cNvPr id="6" name="TextBox 5">
            <a:extLst>
              <a:ext uri="{FF2B5EF4-FFF2-40B4-BE49-F238E27FC236}">
                <a16:creationId xmlns:a16="http://schemas.microsoft.com/office/drawing/2014/main" id="{84AEE208-2228-9A04-BC68-B0695A027B66}"/>
              </a:ext>
            </a:extLst>
          </p:cNvPr>
          <p:cNvSpPr txBox="1"/>
          <p:nvPr/>
        </p:nvSpPr>
        <p:spPr>
          <a:xfrm>
            <a:off x="507526" y="1180524"/>
            <a:ext cx="10888428" cy="1138773"/>
          </a:xfrm>
          <a:prstGeom prst="rect">
            <a:avLst/>
          </a:prstGeom>
          <a:noFill/>
        </p:spPr>
        <p:txBody>
          <a:bodyPr wrap="square" rtlCol="0">
            <a:spAutoFit/>
          </a:bodyPr>
          <a:lstStyle/>
          <a:p>
            <a:pPr defTabSz="1219170">
              <a:buClr>
                <a:srgbClr val="000000"/>
              </a:buClr>
              <a:defRPr/>
            </a:pPr>
            <a:r>
              <a:rPr lang="en-GB" sz="1700" b="1" kern="0" dirty="0">
                <a:cs typeface="Arial" panose="020B0604020202020204" pitchFamily="34" charset="0"/>
              </a:rPr>
              <a:t>Aim: Establish requirements for contractual frameworks with Local Authorities / Social Housing Providers, including potential length of contracts, establishing baselines for measurement, inclusive models, and technical requirements.</a:t>
            </a:r>
          </a:p>
          <a:p>
            <a:pPr algn="just" defTabSz="1219170">
              <a:buClr>
                <a:srgbClr val="000000"/>
              </a:buClr>
              <a:defRPr/>
            </a:pPr>
            <a:endParaRPr lang="en-GB" sz="1700" b="1" kern="0" dirty="0">
              <a:cs typeface="Arial" panose="020B0604020202020204" pitchFamily="34" charset="0"/>
            </a:endParaRPr>
          </a:p>
          <a:p>
            <a:pPr defTabSz="1219170">
              <a:buClr>
                <a:srgbClr val="000000"/>
              </a:buClr>
              <a:defRPr/>
            </a:pPr>
            <a:r>
              <a:rPr lang="en-GB" sz="1700" b="1" kern="0" dirty="0">
                <a:cs typeface="Arial" panose="020B0604020202020204" pitchFamily="34" charset="0"/>
              </a:rPr>
              <a:t>Success criteria: Framework requirements established that have been validated with stakeholders</a:t>
            </a:r>
          </a:p>
        </p:txBody>
      </p:sp>
      <p:sp>
        <p:nvSpPr>
          <p:cNvPr id="73" name="Arrow: Pentagon 23">
            <a:extLst>
              <a:ext uri="{FF2B5EF4-FFF2-40B4-BE49-F238E27FC236}">
                <a16:creationId xmlns:a16="http://schemas.microsoft.com/office/drawing/2014/main" id="{056F2CC8-50E6-909E-1AD2-AFC66CA1CF8A}"/>
              </a:ext>
            </a:extLst>
          </p:cNvPr>
          <p:cNvSpPr/>
          <p:nvPr/>
        </p:nvSpPr>
        <p:spPr>
          <a:xfrm rot="10800000">
            <a:off x="10451574" y="2935081"/>
            <a:ext cx="902226" cy="1026551"/>
          </a:xfrm>
          <a:custGeom>
            <a:avLst/>
            <a:gdLst>
              <a:gd name="connsiteX0" fmla="*/ 0 w 1247005"/>
              <a:gd name="connsiteY0" fmla="*/ 0 h 759012"/>
              <a:gd name="connsiteX1" fmla="*/ 867499 w 1247005"/>
              <a:gd name="connsiteY1" fmla="*/ 0 h 759012"/>
              <a:gd name="connsiteX2" fmla="*/ 1247005 w 1247005"/>
              <a:gd name="connsiteY2" fmla="*/ 379506 h 759012"/>
              <a:gd name="connsiteX3" fmla="*/ 867499 w 1247005"/>
              <a:gd name="connsiteY3" fmla="*/ 759012 h 759012"/>
              <a:gd name="connsiteX4" fmla="*/ 0 w 1247005"/>
              <a:gd name="connsiteY4" fmla="*/ 759012 h 759012"/>
              <a:gd name="connsiteX5" fmla="*/ 0 w 1247005"/>
              <a:gd name="connsiteY5" fmla="*/ 0 h 759012"/>
              <a:gd name="connsiteX0" fmla="*/ 0 w 867499"/>
              <a:gd name="connsiteY0" fmla="*/ 0 h 759012"/>
              <a:gd name="connsiteX1" fmla="*/ 867499 w 867499"/>
              <a:gd name="connsiteY1" fmla="*/ 0 h 759012"/>
              <a:gd name="connsiteX2" fmla="*/ 547965 w 867499"/>
              <a:gd name="connsiteY2" fmla="*/ 375976 h 759012"/>
              <a:gd name="connsiteX3" fmla="*/ 867499 w 867499"/>
              <a:gd name="connsiteY3" fmla="*/ 759012 h 759012"/>
              <a:gd name="connsiteX4" fmla="*/ 0 w 867499"/>
              <a:gd name="connsiteY4" fmla="*/ 759012 h 759012"/>
              <a:gd name="connsiteX5" fmla="*/ 0 w 867499"/>
              <a:gd name="connsiteY5" fmla="*/ 0 h 7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499" h="759012">
                <a:moveTo>
                  <a:pt x="0" y="0"/>
                </a:moveTo>
                <a:lnTo>
                  <a:pt x="867499" y="0"/>
                </a:lnTo>
                <a:lnTo>
                  <a:pt x="547965" y="375976"/>
                </a:lnTo>
                <a:lnTo>
                  <a:pt x="867499" y="759012"/>
                </a:lnTo>
                <a:lnTo>
                  <a:pt x="0" y="759012"/>
                </a:lnTo>
                <a:lnTo>
                  <a:pt x="0" y="0"/>
                </a:lnTo>
                <a:close/>
              </a:path>
            </a:pathLst>
          </a:custGeom>
          <a:solidFill>
            <a:srgbClr val="9C1521"/>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49" name="TextBox 48">
            <a:extLst>
              <a:ext uri="{FF2B5EF4-FFF2-40B4-BE49-F238E27FC236}">
                <a16:creationId xmlns:a16="http://schemas.microsoft.com/office/drawing/2014/main" id="{45017346-11A6-4770-CEFD-0EA881FAAB06}"/>
              </a:ext>
            </a:extLst>
          </p:cNvPr>
          <p:cNvSpPr txBox="1"/>
          <p:nvPr/>
        </p:nvSpPr>
        <p:spPr>
          <a:xfrm>
            <a:off x="4042208" y="4214464"/>
            <a:ext cx="1926243" cy="203132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400" b="1" kern="0" dirty="0">
                <a:solidFill>
                  <a:srgbClr val="9C1521"/>
                </a:solidFill>
                <a:cs typeface="Arial" panose="020B0604020202020204" pitchFamily="34" charset="0"/>
                <a:sym typeface="Arial"/>
              </a:rPr>
              <a:t>Interviews with UK Power Networks’ Distribution System Operator</a:t>
            </a:r>
            <a:r>
              <a:rPr lang="en-GB" sz="1400" b="1" kern="0" dirty="0">
                <a:cs typeface="Arial" panose="020B0604020202020204" pitchFamily="34" charset="0"/>
                <a:sym typeface="Arial"/>
              </a:rPr>
              <a:t> to gain understanding on internal and technical barriers and prioritise areas for further investigation.</a:t>
            </a:r>
            <a:endParaRPr kumimoji="0" lang="en-GB" sz="1400" b="1" i="0" u="none" strike="noStrike" kern="0" cap="none" spc="0" normalizeH="0" baseline="0" noProof="0" dirty="0">
              <a:ln>
                <a:noFill/>
              </a:ln>
              <a:effectLst/>
              <a:uLnTx/>
              <a:uFillTx/>
              <a:cs typeface="Arial" panose="020B0604020202020204" pitchFamily="34" charset="0"/>
              <a:sym typeface="Arial"/>
            </a:endParaRPr>
          </a:p>
        </p:txBody>
      </p:sp>
      <p:sp>
        <p:nvSpPr>
          <p:cNvPr id="50" name="TextBox 49">
            <a:extLst>
              <a:ext uri="{FF2B5EF4-FFF2-40B4-BE49-F238E27FC236}">
                <a16:creationId xmlns:a16="http://schemas.microsoft.com/office/drawing/2014/main" id="{6FE0C7CE-2F13-738B-3214-9D37010A369F}"/>
              </a:ext>
            </a:extLst>
          </p:cNvPr>
          <p:cNvSpPr txBox="1"/>
          <p:nvPr/>
        </p:nvSpPr>
        <p:spPr>
          <a:xfrm>
            <a:off x="5993954" y="4194710"/>
            <a:ext cx="1764820" cy="181588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AB200"/>
                </a:solidFill>
                <a:effectLst/>
                <a:uLnTx/>
                <a:uFillTx/>
                <a:cs typeface="Arial" panose="020B0604020202020204" pitchFamily="34" charset="0"/>
                <a:sym typeface="Arial"/>
              </a:rPr>
              <a:t>Establish </a:t>
            </a:r>
            <a:r>
              <a:rPr lang="en-GB" sz="1400" b="1" kern="0">
                <a:solidFill>
                  <a:srgbClr val="EAB200"/>
                </a:solidFill>
                <a:cs typeface="Arial" panose="020B0604020202020204" pitchFamily="34" charset="0"/>
                <a:sym typeface="Arial"/>
              </a:rPr>
              <a:t>the </a:t>
            </a:r>
            <a:r>
              <a:rPr kumimoji="0" lang="en-GB" sz="1400" b="1" i="0" u="none" strike="noStrike" kern="0" cap="none" spc="0" normalizeH="0" baseline="0" noProof="0">
                <a:ln>
                  <a:noFill/>
                </a:ln>
                <a:solidFill>
                  <a:srgbClr val="EAB200"/>
                </a:solidFill>
                <a:effectLst/>
                <a:uLnTx/>
                <a:uFillTx/>
                <a:cs typeface="Arial" panose="020B0604020202020204" pitchFamily="34" charset="0"/>
                <a:sym typeface="Arial"/>
              </a:rPr>
              <a:t>data requirement</a:t>
            </a:r>
            <a:r>
              <a:rPr lang="en-GB" sz="1400" b="1" kern="0">
                <a:solidFill>
                  <a:srgbClr val="EAB200"/>
                </a:solidFill>
                <a:cs typeface="Arial" panose="020B0604020202020204" pitchFamily="34" charset="0"/>
                <a:sym typeface="Arial"/>
              </a:rPr>
              <a:t>s</a:t>
            </a:r>
            <a:r>
              <a:rPr kumimoji="0" lang="en-GB" sz="1400" b="1" i="0" u="none" strike="noStrike" kern="0" cap="none" spc="0" normalizeH="0" baseline="0" noProof="0">
                <a:ln>
                  <a:noFill/>
                </a:ln>
                <a:solidFill>
                  <a:srgbClr val="EAB200"/>
                </a:solidFill>
                <a:effectLst/>
                <a:uLnTx/>
                <a:uFillTx/>
                <a:cs typeface="Arial" panose="020B0604020202020204" pitchFamily="34" charset="0"/>
                <a:sym typeface="Arial"/>
              </a:rPr>
              <a:t> </a:t>
            </a:r>
            <a:r>
              <a:rPr kumimoji="0" lang="en-GB" sz="1400" b="1" i="0" u="none" strike="noStrike" kern="0" cap="none" spc="0" normalizeH="0" baseline="0" noProof="0">
                <a:ln>
                  <a:noFill/>
                </a:ln>
                <a:effectLst/>
                <a:uLnTx/>
                <a:uFillTx/>
                <a:cs typeface="Arial" panose="020B0604020202020204" pitchFamily="34" charset="0"/>
                <a:sym typeface="Arial"/>
              </a:rPr>
              <a:t>and internal process changes required to implement different options for the </a:t>
            </a:r>
            <a:r>
              <a:rPr lang="en-GB" sz="1400" b="1" kern="0">
                <a:cs typeface="Arial" panose="020B0604020202020204" pitchFamily="34" charset="0"/>
                <a:sym typeface="Arial"/>
              </a:rPr>
              <a:t>commercial arrangements</a:t>
            </a:r>
            <a:endParaRPr kumimoji="0" lang="en-GB" sz="1400" b="1" i="0" u="none" strike="noStrike" kern="0" cap="none" spc="0" normalizeH="0" baseline="0" noProof="0">
              <a:ln>
                <a:noFill/>
              </a:ln>
              <a:effectLst/>
              <a:uLnTx/>
              <a:uFillTx/>
              <a:cs typeface="Arial" panose="020B0604020202020204" pitchFamily="34" charset="0"/>
              <a:sym typeface="Arial"/>
            </a:endParaRPr>
          </a:p>
        </p:txBody>
      </p:sp>
      <p:sp>
        <p:nvSpPr>
          <p:cNvPr id="51" name="TextBox 50">
            <a:extLst>
              <a:ext uri="{FF2B5EF4-FFF2-40B4-BE49-F238E27FC236}">
                <a16:creationId xmlns:a16="http://schemas.microsoft.com/office/drawing/2014/main" id="{BBB99058-6152-0EEE-C7B3-4BA42878DD81}"/>
              </a:ext>
            </a:extLst>
          </p:cNvPr>
          <p:cNvSpPr txBox="1"/>
          <p:nvPr/>
        </p:nvSpPr>
        <p:spPr>
          <a:xfrm>
            <a:off x="7758775" y="4214464"/>
            <a:ext cx="1692982" cy="181588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400" b="1" kern="0">
                <a:solidFill>
                  <a:srgbClr val="F8931E"/>
                </a:solidFill>
                <a:cs typeface="Arial" panose="020B0604020202020204" pitchFamily="34" charset="0"/>
                <a:sym typeface="Arial"/>
              </a:rPr>
              <a:t>Integrate relevant amendments </a:t>
            </a:r>
            <a:r>
              <a:rPr lang="en-GB" sz="1400" b="1" kern="0">
                <a:cs typeface="Arial" panose="020B0604020202020204" pitchFamily="34" charset="0"/>
                <a:sym typeface="Arial"/>
              </a:rPr>
              <a:t>following DSO team engagement, assess each option against relevant criteria and develop a proof-of-concept framework</a:t>
            </a:r>
            <a:endParaRPr kumimoji="0" lang="en-GB" sz="1400" b="1" i="0" u="none" strike="noStrike" kern="0" cap="none" spc="0" normalizeH="0" baseline="0" noProof="0">
              <a:ln>
                <a:noFill/>
              </a:ln>
              <a:effectLst/>
              <a:uLnTx/>
              <a:uFillTx/>
              <a:cs typeface="Arial" panose="020B0604020202020204" pitchFamily="34" charset="0"/>
              <a:sym typeface="Arial"/>
            </a:endParaRPr>
          </a:p>
        </p:txBody>
      </p:sp>
      <p:sp>
        <p:nvSpPr>
          <p:cNvPr id="55" name="TextBox 54">
            <a:extLst>
              <a:ext uri="{FF2B5EF4-FFF2-40B4-BE49-F238E27FC236}">
                <a16:creationId xmlns:a16="http://schemas.microsoft.com/office/drawing/2014/main" id="{BD97A882-359D-03CA-1C17-CE703FC7B811}"/>
              </a:ext>
            </a:extLst>
          </p:cNvPr>
          <p:cNvSpPr txBox="1"/>
          <p:nvPr/>
        </p:nvSpPr>
        <p:spPr>
          <a:xfrm>
            <a:off x="734742" y="4193287"/>
            <a:ext cx="1518530" cy="224676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AB200"/>
                </a:solidFill>
                <a:effectLst/>
                <a:uLnTx/>
                <a:uFillTx/>
                <a:cs typeface="Arial" panose="020B0604020202020204" pitchFamily="34" charset="0"/>
                <a:sym typeface="Arial"/>
              </a:rPr>
              <a:t>Evaluated current energy efficiency </a:t>
            </a:r>
            <a:r>
              <a:rPr kumimoji="0" lang="en-GB" sz="1400" b="1" i="0" u="none" strike="noStrike" kern="0" cap="none" spc="0" normalizeH="0" baseline="0" noProof="0">
                <a:ln>
                  <a:noFill/>
                </a:ln>
                <a:effectLst/>
                <a:uLnTx/>
                <a:uFillTx/>
                <a:cs typeface="Arial" panose="020B0604020202020204" pitchFamily="34" charset="0"/>
                <a:sym typeface="Arial"/>
              </a:rPr>
              <a:t>flexibility products and commercial arrangements, current barriers to uptake and opportunities for Flex Direct</a:t>
            </a:r>
          </a:p>
        </p:txBody>
      </p:sp>
      <p:sp>
        <p:nvSpPr>
          <p:cNvPr id="56" name="TextBox 55">
            <a:extLst>
              <a:ext uri="{FF2B5EF4-FFF2-40B4-BE49-F238E27FC236}">
                <a16:creationId xmlns:a16="http://schemas.microsoft.com/office/drawing/2014/main" id="{F1A1230E-C48D-9A94-4BB8-1CB3B0FCAB0C}"/>
              </a:ext>
            </a:extLst>
          </p:cNvPr>
          <p:cNvSpPr txBox="1"/>
          <p:nvPr/>
        </p:nvSpPr>
        <p:spPr>
          <a:xfrm>
            <a:off x="2157897" y="4186032"/>
            <a:ext cx="1885699" cy="203132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8931E"/>
                </a:solidFill>
                <a:effectLst/>
                <a:uLnTx/>
                <a:uFillTx/>
                <a:cs typeface="Arial" panose="020B0604020202020204" pitchFamily="34" charset="0"/>
                <a:sym typeface="Arial"/>
              </a:rPr>
              <a:t>Review and benchmark </a:t>
            </a:r>
            <a:r>
              <a:rPr kumimoji="0" lang="en-GB" sz="1400" b="1" i="0" u="none" strike="noStrike" kern="0" cap="none" spc="0" normalizeH="0" baseline="0" noProof="0">
                <a:ln>
                  <a:noFill/>
                </a:ln>
                <a:effectLst/>
                <a:uLnTx/>
                <a:uFillTx/>
                <a:cs typeface="Arial" panose="020B0604020202020204" pitchFamily="34" charset="0"/>
                <a:sym typeface="Arial"/>
              </a:rPr>
              <a:t>current processes against new arrangements </a:t>
            </a:r>
            <a:r>
              <a:rPr lang="en-GB" sz="1400" b="1" kern="0">
                <a:cs typeface="Arial" panose="020B0604020202020204" pitchFamily="34" charset="0"/>
                <a:sym typeface="Arial"/>
              </a:rPr>
              <a:t>including tools or levers applied to enable increased uptake energy efficiency flexibility </a:t>
            </a:r>
            <a:endParaRPr kumimoji="0" lang="en-GB" sz="1400" b="1" i="0" u="none" strike="noStrike" kern="0" cap="none" spc="0" normalizeH="0" baseline="0" noProof="0">
              <a:ln>
                <a:noFill/>
              </a:ln>
              <a:effectLst/>
              <a:uLnTx/>
              <a:uFillTx/>
              <a:cs typeface="Arial" panose="020B0604020202020204" pitchFamily="34" charset="0"/>
              <a:sym typeface="Arial"/>
            </a:endParaRPr>
          </a:p>
        </p:txBody>
      </p:sp>
      <p:sp>
        <p:nvSpPr>
          <p:cNvPr id="65" name="TextBox 64">
            <a:extLst>
              <a:ext uri="{FF2B5EF4-FFF2-40B4-BE49-F238E27FC236}">
                <a16:creationId xmlns:a16="http://schemas.microsoft.com/office/drawing/2014/main" id="{D29E4F75-0921-D94F-6FAE-5B973ABDC305}"/>
              </a:ext>
            </a:extLst>
          </p:cNvPr>
          <p:cNvSpPr txBox="1"/>
          <p:nvPr/>
        </p:nvSpPr>
        <p:spPr>
          <a:xfrm>
            <a:off x="9601192" y="4186032"/>
            <a:ext cx="1639504" cy="116955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400" b="1" kern="0">
                <a:solidFill>
                  <a:srgbClr val="9C1521"/>
                </a:solidFill>
                <a:cs typeface="Arial" panose="020B0604020202020204" pitchFamily="34" charset="0"/>
                <a:sym typeface="Arial"/>
              </a:rPr>
              <a:t>Contractual framework options </a:t>
            </a:r>
            <a:r>
              <a:rPr lang="en-GB" sz="1400" b="1" kern="0">
                <a:cs typeface="Arial" panose="020B0604020202020204" pitchFamily="34" charset="0"/>
                <a:sym typeface="Arial"/>
              </a:rPr>
              <a:t>and requirements established and validated.</a:t>
            </a:r>
            <a:endParaRPr kumimoji="0" lang="en-GB" sz="1400" b="1" i="0" u="none" strike="noStrike" kern="0" cap="none" spc="0" normalizeH="0" baseline="0" noProof="0">
              <a:ln>
                <a:noFill/>
              </a:ln>
              <a:effectLst/>
              <a:uLnTx/>
              <a:uFillTx/>
              <a:cs typeface="Arial" panose="020B0604020202020204" pitchFamily="34" charset="0"/>
              <a:sym typeface="Arial"/>
            </a:endParaRPr>
          </a:p>
        </p:txBody>
      </p:sp>
      <p:sp>
        <p:nvSpPr>
          <p:cNvPr id="5" name="Arrow: Pentagon 4">
            <a:extLst>
              <a:ext uri="{FF2B5EF4-FFF2-40B4-BE49-F238E27FC236}">
                <a16:creationId xmlns:a16="http://schemas.microsoft.com/office/drawing/2014/main" id="{40D37AD1-65C1-4B49-7910-BD86E28189BE}"/>
              </a:ext>
            </a:extLst>
          </p:cNvPr>
          <p:cNvSpPr/>
          <p:nvPr/>
        </p:nvSpPr>
        <p:spPr>
          <a:xfrm>
            <a:off x="813101" y="2943680"/>
            <a:ext cx="1680752" cy="1012016"/>
          </a:xfrm>
          <a:prstGeom prst="homePlate">
            <a:avLst/>
          </a:prstGeom>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34" name="Arrow: Chevron 33">
            <a:extLst>
              <a:ext uri="{FF2B5EF4-FFF2-40B4-BE49-F238E27FC236}">
                <a16:creationId xmlns:a16="http://schemas.microsoft.com/office/drawing/2014/main" id="{575D7A93-0C69-AA98-3264-4DE51103D0FA}"/>
              </a:ext>
            </a:extLst>
          </p:cNvPr>
          <p:cNvSpPr/>
          <p:nvPr/>
        </p:nvSpPr>
        <p:spPr>
          <a:xfrm>
            <a:off x="2157896" y="2935084"/>
            <a:ext cx="2146819" cy="1012016"/>
          </a:xfrm>
          <a:prstGeom prst="chevron">
            <a:avLst/>
          </a:prstGeom>
          <a:solidFill>
            <a:srgbClr val="F893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35" name="Arrow: Chevron 34">
            <a:extLst>
              <a:ext uri="{FF2B5EF4-FFF2-40B4-BE49-F238E27FC236}">
                <a16:creationId xmlns:a16="http://schemas.microsoft.com/office/drawing/2014/main" id="{251E7076-1852-1664-A0D1-676E3CCF7955}"/>
              </a:ext>
            </a:extLst>
          </p:cNvPr>
          <p:cNvSpPr/>
          <p:nvPr/>
        </p:nvSpPr>
        <p:spPr>
          <a:xfrm>
            <a:off x="3974710" y="2949618"/>
            <a:ext cx="2204315" cy="1012016"/>
          </a:xfrm>
          <a:prstGeom prst="chevron">
            <a:avLst/>
          </a:prstGeom>
          <a:solidFill>
            <a:srgbClr val="9C15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36" name="Arrow: Chevron 35">
            <a:extLst>
              <a:ext uri="{FF2B5EF4-FFF2-40B4-BE49-F238E27FC236}">
                <a16:creationId xmlns:a16="http://schemas.microsoft.com/office/drawing/2014/main" id="{5F31C1E7-3015-ED43-AA84-3BFBCA432C90}"/>
              </a:ext>
            </a:extLst>
          </p:cNvPr>
          <p:cNvSpPr/>
          <p:nvPr/>
        </p:nvSpPr>
        <p:spPr>
          <a:xfrm>
            <a:off x="5855854" y="2935084"/>
            <a:ext cx="2204314" cy="1012016"/>
          </a:xfrm>
          <a:prstGeom prst="chevron">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37" name="Arrow: Chevron 36">
            <a:extLst>
              <a:ext uri="{FF2B5EF4-FFF2-40B4-BE49-F238E27FC236}">
                <a16:creationId xmlns:a16="http://schemas.microsoft.com/office/drawing/2014/main" id="{A25D28BC-852B-A0AC-082D-39BAB87DB030}"/>
              </a:ext>
            </a:extLst>
          </p:cNvPr>
          <p:cNvSpPr/>
          <p:nvPr/>
        </p:nvSpPr>
        <p:spPr>
          <a:xfrm>
            <a:off x="7726137" y="2942351"/>
            <a:ext cx="2111929" cy="1012016"/>
          </a:xfrm>
          <a:prstGeom prst="chevron">
            <a:avLst/>
          </a:prstGeom>
          <a:solidFill>
            <a:srgbClr val="F893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pic>
        <p:nvPicPr>
          <p:cNvPr id="39" name="Graphic 38" descr="Research outline">
            <a:extLst>
              <a:ext uri="{FF2B5EF4-FFF2-40B4-BE49-F238E27FC236}">
                <a16:creationId xmlns:a16="http://schemas.microsoft.com/office/drawing/2014/main" id="{63FD3EBF-8ABC-8650-AB4E-55C04570FD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025" y="2438448"/>
            <a:ext cx="516452" cy="516452"/>
          </a:xfrm>
          <a:prstGeom prst="rect">
            <a:avLst/>
          </a:prstGeom>
          <a:effectLst>
            <a:glow rad="101600">
              <a:schemeClr val="accent4">
                <a:lumMod val="20000"/>
                <a:lumOff val="80000"/>
                <a:alpha val="60000"/>
              </a:schemeClr>
            </a:glow>
          </a:effectLst>
        </p:spPr>
      </p:pic>
      <p:sp>
        <p:nvSpPr>
          <p:cNvPr id="40" name="TextBox 39">
            <a:extLst>
              <a:ext uri="{FF2B5EF4-FFF2-40B4-BE49-F238E27FC236}">
                <a16:creationId xmlns:a16="http://schemas.microsoft.com/office/drawing/2014/main" id="{C9D3CB5A-D75B-C261-BD04-0144D35EE01D}"/>
              </a:ext>
            </a:extLst>
          </p:cNvPr>
          <p:cNvSpPr txBox="1"/>
          <p:nvPr/>
        </p:nvSpPr>
        <p:spPr>
          <a:xfrm>
            <a:off x="916542" y="3168629"/>
            <a:ext cx="1421763" cy="502573"/>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333" b="1" i="0" u="none" strike="noStrike" kern="0" cap="none" spc="0" normalizeH="0" baseline="0" noProof="0">
                <a:ln>
                  <a:noFill/>
                </a:ln>
                <a:effectLst/>
                <a:uLnTx/>
                <a:uFillTx/>
                <a:cs typeface="Arial" panose="020B0604020202020204" pitchFamily="34" charset="0"/>
                <a:sym typeface="Arial"/>
              </a:rPr>
              <a:t>1. Lit</a:t>
            </a:r>
            <a:r>
              <a:rPr lang="en-GB" sz="1333" b="1" kern="0" err="1">
                <a:cs typeface="Arial" panose="020B0604020202020204" pitchFamily="34" charset="0"/>
                <a:sym typeface="Arial"/>
              </a:rPr>
              <a:t>erature</a:t>
            </a:r>
            <a:r>
              <a:rPr kumimoji="0" lang="en-GB" sz="1333" b="1" i="0" u="none" strike="noStrike" kern="0" cap="none" spc="0" normalizeH="0" baseline="0" noProof="0">
                <a:ln>
                  <a:noFill/>
                </a:ln>
                <a:effectLst/>
                <a:uLnTx/>
                <a:uFillTx/>
                <a:cs typeface="Arial" panose="020B0604020202020204" pitchFamily="34" charset="0"/>
                <a:sym typeface="Arial"/>
              </a:rPr>
              <a:t> Review </a:t>
            </a:r>
          </a:p>
        </p:txBody>
      </p:sp>
      <p:sp>
        <p:nvSpPr>
          <p:cNvPr id="41" name="TextBox 40">
            <a:extLst>
              <a:ext uri="{FF2B5EF4-FFF2-40B4-BE49-F238E27FC236}">
                <a16:creationId xmlns:a16="http://schemas.microsoft.com/office/drawing/2014/main" id="{D4F4D171-66E3-3263-5C51-3DAAA710A094}"/>
              </a:ext>
            </a:extLst>
          </p:cNvPr>
          <p:cNvSpPr txBox="1"/>
          <p:nvPr/>
        </p:nvSpPr>
        <p:spPr>
          <a:xfrm>
            <a:off x="2676495" y="3265294"/>
            <a:ext cx="1367101" cy="297454"/>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333" b="1" i="0" u="none" strike="noStrike" kern="0" cap="none" spc="0" normalizeH="0" baseline="0" noProof="0">
                <a:ln>
                  <a:noFill/>
                </a:ln>
                <a:effectLst/>
                <a:uLnTx/>
                <a:uFillTx/>
                <a:cs typeface="Arial" panose="020B0604020202020204" pitchFamily="34" charset="0"/>
                <a:sym typeface="Arial"/>
              </a:rPr>
              <a:t>2. Benchmark</a:t>
            </a:r>
          </a:p>
        </p:txBody>
      </p:sp>
      <p:sp>
        <p:nvSpPr>
          <p:cNvPr id="42" name="TextBox 41">
            <a:extLst>
              <a:ext uri="{FF2B5EF4-FFF2-40B4-BE49-F238E27FC236}">
                <a16:creationId xmlns:a16="http://schemas.microsoft.com/office/drawing/2014/main" id="{04A8D9EA-6F79-D485-0AAA-509C22A2501D}"/>
              </a:ext>
            </a:extLst>
          </p:cNvPr>
          <p:cNvSpPr txBox="1"/>
          <p:nvPr/>
        </p:nvSpPr>
        <p:spPr>
          <a:xfrm>
            <a:off x="4417438" y="3146867"/>
            <a:ext cx="1367101" cy="502573"/>
          </a:xfrm>
          <a:prstGeom prst="rect">
            <a:avLst/>
          </a:prstGeom>
          <a:no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333" b="1" i="0" u="none" strike="noStrike" kern="0" cap="none" spc="0" normalizeH="0" baseline="0" noProof="0">
                <a:ln>
                  <a:noFill/>
                </a:ln>
                <a:solidFill>
                  <a:schemeClr val="bg1"/>
                </a:solidFill>
                <a:effectLst/>
                <a:uLnTx/>
                <a:uFillTx/>
                <a:cs typeface="Arial" panose="020B0604020202020204" pitchFamily="34" charset="0"/>
                <a:sym typeface="Arial"/>
              </a:rPr>
              <a:t>3. Interviews with DSO team</a:t>
            </a:r>
          </a:p>
        </p:txBody>
      </p:sp>
      <p:sp>
        <p:nvSpPr>
          <p:cNvPr id="43" name="TextBox 42">
            <a:extLst>
              <a:ext uri="{FF2B5EF4-FFF2-40B4-BE49-F238E27FC236}">
                <a16:creationId xmlns:a16="http://schemas.microsoft.com/office/drawing/2014/main" id="{81781AFC-4698-0E4C-E609-EDA64C279EB0}"/>
              </a:ext>
            </a:extLst>
          </p:cNvPr>
          <p:cNvSpPr txBox="1"/>
          <p:nvPr/>
        </p:nvSpPr>
        <p:spPr>
          <a:xfrm>
            <a:off x="8279805" y="3162734"/>
            <a:ext cx="1367101" cy="502573"/>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333" b="1" i="0" u="none" strike="noStrike" kern="0" cap="none" spc="0" normalizeH="0" baseline="0" noProof="0">
                <a:ln>
                  <a:noFill/>
                </a:ln>
                <a:effectLst/>
                <a:uLnTx/>
                <a:uFillTx/>
                <a:cs typeface="Arial" panose="020B0604020202020204" pitchFamily="34" charset="0"/>
                <a:sym typeface="Arial"/>
              </a:rPr>
              <a:t>5. Proof of Concept</a:t>
            </a:r>
          </a:p>
        </p:txBody>
      </p:sp>
      <p:sp>
        <p:nvSpPr>
          <p:cNvPr id="45" name="TextBox 44">
            <a:extLst>
              <a:ext uri="{FF2B5EF4-FFF2-40B4-BE49-F238E27FC236}">
                <a16:creationId xmlns:a16="http://schemas.microsoft.com/office/drawing/2014/main" id="{CDBBECFF-621D-6620-85C8-3CB58059A510}"/>
              </a:ext>
            </a:extLst>
          </p:cNvPr>
          <p:cNvSpPr txBox="1"/>
          <p:nvPr/>
        </p:nvSpPr>
        <p:spPr>
          <a:xfrm>
            <a:off x="6250340" y="3102452"/>
            <a:ext cx="1615562" cy="706347"/>
          </a:xfrm>
          <a:prstGeom prst="rect">
            <a:avLst/>
          </a:prstGeom>
          <a:no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330" b="1" i="0" u="none" strike="noStrike" kern="0" cap="none" spc="0" normalizeH="0" baseline="0" noProof="0">
                <a:ln>
                  <a:noFill/>
                </a:ln>
                <a:effectLst/>
                <a:uLnTx/>
                <a:uFillTx/>
                <a:cs typeface="Arial" panose="020B0604020202020204" pitchFamily="34" charset="0"/>
                <a:sym typeface="Arial"/>
              </a:rPr>
              <a:t>4. Establish Data Requirements </a:t>
            </a:r>
            <a:r>
              <a:rPr kumimoji="0" lang="en-GB" sz="1330" b="1" i="0" u="none" strike="noStrike" kern="0" cap="none" spc="0" normalizeH="0" baseline="0" noProof="0" dirty="0">
                <a:ln>
                  <a:noFill/>
                </a:ln>
                <a:effectLst/>
                <a:uLnTx/>
                <a:uFillTx/>
                <a:cs typeface="Arial" panose="020B0604020202020204" pitchFamily="34" charset="0"/>
                <a:sym typeface="Arial"/>
              </a:rPr>
              <a:t>and</a:t>
            </a:r>
            <a:r>
              <a:rPr kumimoji="0" lang="en-GB" sz="1330" b="1" i="0" u="none" strike="noStrike" kern="0" cap="none" spc="0" normalizeH="0" baseline="0" noProof="0">
                <a:ln>
                  <a:noFill/>
                </a:ln>
                <a:effectLst/>
                <a:uLnTx/>
                <a:uFillTx/>
                <a:cs typeface="Arial" panose="020B0604020202020204" pitchFamily="34" charset="0"/>
                <a:sym typeface="Arial"/>
              </a:rPr>
              <a:t> process changes </a:t>
            </a:r>
          </a:p>
        </p:txBody>
      </p:sp>
      <p:sp>
        <p:nvSpPr>
          <p:cNvPr id="46" name="Arrow: Pentagon 23">
            <a:extLst>
              <a:ext uri="{FF2B5EF4-FFF2-40B4-BE49-F238E27FC236}">
                <a16:creationId xmlns:a16="http://schemas.microsoft.com/office/drawing/2014/main" id="{A316A3DB-A442-8D24-B0C8-2F02E644BD82}"/>
              </a:ext>
            </a:extLst>
          </p:cNvPr>
          <p:cNvSpPr/>
          <p:nvPr/>
        </p:nvSpPr>
        <p:spPr>
          <a:xfrm rot="10800000">
            <a:off x="9491008" y="2935084"/>
            <a:ext cx="1466065" cy="1026550"/>
          </a:xfrm>
          <a:custGeom>
            <a:avLst/>
            <a:gdLst>
              <a:gd name="connsiteX0" fmla="*/ 0 w 1247005"/>
              <a:gd name="connsiteY0" fmla="*/ 0 h 759012"/>
              <a:gd name="connsiteX1" fmla="*/ 867499 w 1247005"/>
              <a:gd name="connsiteY1" fmla="*/ 0 h 759012"/>
              <a:gd name="connsiteX2" fmla="*/ 1247005 w 1247005"/>
              <a:gd name="connsiteY2" fmla="*/ 379506 h 759012"/>
              <a:gd name="connsiteX3" fmla="*/ 867499 w 1247005"/>
              <a:gd name="connsiteY3" fmla="*/ 759012 h 759012"/>
              <a:gd name="connsiteX4" fmla="*/ 0 w 1247005"/>
              <a:gd name="connsiteY4" fmla="*/ 759012 h 759012"/>
              <a:gd name="connsiteX5" fmla="*/ 0 w 1247005"/>
              <a:gd name="connsiteY5" fmla="*/ 0 h 759012"/>
              <a:gd name="connsiteX0" fmla="*/ 0 w 867499"/>
              <a:gd name="connsiteY0" fmla="*/ 0 h 759012"/>
              <a:gd name="connsiteX1" fmla="*/ 867499 w 867499"/>
              <a:gd name="connsiteY1" fmla="*/ 0 h 759012"/>
              <a:gd name="connsiteX2" fmla="*/ 547965 w 867499"/>
              <a:gd name="connsiteY2" fmla="*/ 375976 h 759012"/>
              <a:gd name="connsiteX3" fmla="*/ 867499 w 867499"/>
              <a:gd name="connsiteY3" fmla="*/ 759012 h 759012"/>
              <a:gd name="connsiteX4" fmla="*/ 0 w 867499"/>
              <a:gd name="connsiteY4" fmla="*/ 759012 h 759012"/>
              <a:gd name="connsiteX5" fmla="*/ 0 w 867499"/>
              <a:gd name="connsiteY5" fmla="*/ 0 h 7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499" h="759012">
                <a:moveTo>
                  <a:pt x="0" y="0"/>
                </a:moveTo>
                <a:lnTo>
                  <a:pt x="867499" y="0"/>
                </a:lnTo>
                <a:lnTo>
                  <a:pt x="547965" y="375976"/>
                </a:lnTo>
                <a:lnTo>
                  <a:pt x="867499" y="759012"/>
                </a:lnTo>
                <a:lnTo>
                  <a:pt x="0" y="759012"/>
                </a:lnTo>
                <a:lnTo>
                  <a:pt x="0" y="0"/>
                </a:lnTo>
                <a:close/>
              </a:path>
            </a:pathLst>
          </a:custGeom>
          <a:solidFill>
            <a:srgbClr val="9C1521"/>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1" i="0" u="none" strike="noStrike" kern="0" cap="none" spc="0" normalizeH="0" baseline="0" noProof="0">
              <a:ln>
                <a:noFill/>
              </a:ln>
              <a:solidFill>
                <a:schemeClr val="tx1"/>
              </a:solidFill>
              <a:effectLst/>
              <a:uLnTx/>
              <a:uFillTx/>
              <a:cs typeface="Arial" panose="020B0604020202020204" pitchFamily="34" charset="0"/>
              <a:sym typeface="Arial"/>
            </a:endParaRPr>
          </a:p>
        </p:txBody>
      </p:sp>
      <p:sp>
        <p:nvSpPr>
          <p:cNvPr id="47" name="TextBox 46">
            <a:extLst>
              <a:ext uri="{FF2B5EF4-FFF2-40B4-BE49-F238E27FC236}">
                <a16:creationId xmlns:a16="http://schemas.microsoft.com/office/drawing/2014/main" id="{8B223FD6-B55E-546B-9F48-6D9A1715D890}"/>
              </a:ext>
            </a:extLst>
          </p:cNvPr>
          <p:cNvSpPr txBox="1"/>
          <p:nvPr/>
        </p:nvSpPr>
        <p:spPr>
          <a:xfrm>
            <a:off x="10077337" y="3162734"/>
            <a:ext cx="1191569" cy="502573"/>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333" b="1" i="0" u="none" strike="noStrike" kern="0" cap="none" spc="0" normalizeH="0" baseline="0" noProof="0">
                <a:ln>
                  <a:noFill/>
                </a:ln>
                <a:solidFill>
                  <a:schemeClr val="bg1"/>
                </a:solidFill>
                <a:effectLst/>
                <a:uLnTx/>
                <a:uFillTx/>
                <a:cs typeface="Arial" panose="020B0604020202020204" pitchFamily="34" charset="0"/>
                <a:sym typeface="Arial"/>
              </a:rPr>
              <a:t>6. Milestone  complete</a:t>
            </a:r>
          </a:p>
        </p:txBody>
      </p:sp>
      <p:pic>
        <p:nvPicPr>
          <p:cNvPr id="48" name="Graphic 47" descr="Race Flag outline">
            <a:extLst>
              <a:ext uri="{FF2B5EF4-FFF2-40B4-BE49-F238E27FC236}">
                <a16:creationId xmlns:a16="http://schemas.microsoft.com/office/drawing/2014/main" id="{1B23B2B0-63AF-1F04-1E27-C6E3CD9D62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72824" y="2238904"/>
            <a:ext cx="715996" cy="715996"/>
          </a:xfrm>
          <a:prstGeom prst="rect">
            <a:avLst/>
          </a:prstGeom>
          <a:effectLst>
            <a:glow rad="101600">
              <a:schemeClr val="accent4">
                <a:lumMod val="20000"/>
                <a:lumOff val="80000"/>
                <a:alpha val="60000"/>
              </a:schemeClr>
            </a:glow>
          </a:effectLst>
        </p:spPr>
      </p:pic>
      <p:pic>
        <p:nvPicPr>
          <p:cNvPr id="53" name="Graphic 52" descr="Users outline">
            <a:extLst>
              <a:ext uri="{FF2B5EF4-FFF2-40B4-BE49-F238E27FC236}">
                <a16:creationId xmlns:a16="http://schemas.microsoft.com/office/drawing/2014/main" id="{F0E21D5A-A17A-C7D3-808B-D0A59B677C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97311" y="2295548"/>
            <a:ext cx="715996" cy="715996"/>
          </a:xfrm>
          <a:prstGeom prst="rect">
            <a:avLst/>
          </a:prstGeom>
          <a:effectLst>
            <a:glow rad="101600">
              <a:schemeClr val="accent4">
                <a:lumMod val="20000"/>
                <a:lumOff val="80000"/>
                <a:alpha val="60000"/>
              </a:schemeClr>
            </a:glow>
          </a:effectLst>
        </p:spPr>
      </p:pic>
      <p:sp>
        <p:nvSpPr>
          <p:cNvPr id="64" name="Google Shape;4035;p21">
            <a:extLst>
              <a:ext uri="{FF2B5EF4-FFF2-40B4-BE49-F238E27FC236}">
                <a16:creationId xmlns:a16="http://schemas.microsoft.com/office/drawing/2014/main" id="{DCD97621-9542-7AAD-FB29-8248C292851B}"/>
              </a:ext>
            </a:extLst>
          </p:cNvPr>
          <p:cNvSpPr/>
          <p:nvPr/>
        </p:nvSpPr>
        <p:spPr>
          <a:xfrm>
            <a:off x="8384944" y="2422446"/>
            <a:ext cx="556613" cy="475903"/>
          </a:xfrm>
          <a:custGeom>
            <a:avLst/>
            <a:gdLst/>
            <a:ahLst/>
            <a:cxnLst/>
            <a:rect l="l" t="t" r="r" b="b"/>
            <a:pathLst>
              <a:path w="258" h="258" extrusionOk="0">
                <a:moveTo>
                  <a:pt x="55" y="60"/>
                </a:moveTo>
                <a:cubicBezTo>
                  <a:pt x="71" y="60"/>
                  <a:pt x="84" y="46"/>
                  <a:pt x="84" y="30"/>
                </a:cubicBezTo>
                <a:cubicBezTo>
                  <a:pt x="84" y="13"/>
                  <a:pt x="71" y="0"/>
                  <a:pt x="55" y="0"/>
                </a:cubicBezTo>
                <a:cubicBezTo>
                  <a:pt x="38" y="0"/>
                  <a:pt x="25" y="13"/>
                  <a:pt x="25" y="30"/>
                </a:cubicBezTo>
                <a:cubicBezTo>
                  <a:pt x="25" y="46"/>
                  <a:pt x="38" y="60"/>
                  <a:pt x="55" y="60"/>
                </a:cubicBezTo>
                <a:close/>
                <a:moveTo>
                  <a:pt x="55" y="10"/>
                </a:moveTo>
                <a:cubicBezTo>
                  <a:pt x="66" y="10"/>
                  <a:pt x="75" y="19"/>
                  <a:pt x="75" y="30"/>
                </a:cubicBezTo>
                <a:cubicBezTo>
                  <a:pt x="75" y="41"/>
                  <a:pt x="66" y="50"/>
                  <a:pt x="55" y="50"/>
                </a:cubicBezTo>
                <a:cubicBezTo>
                  <a:pt x="44" y="50"/>
                  <a:pt x="35" y="41"/>
                  <a:pt x="35" y="30"/>
                </a:cubicBezTo>
                <a:cubicBezTo>
                  <a:pt x="35" y="19"/>
                  <a:pt x="44" y="10"/>
                  <a:pt x="55" y="10"/>
                </a:cubicBezTo>
                <a:close/>
                <a:moveTo>
                  <a:pt x="154" y="89"/>
                </a:moveTo>
                <a:cubicBezTo>
                  <a:pt x="168" y="89"/>
                  <a:pt x="179" y="78"/>
                  <a:pt x="179" y="65"/>
                </a:cubicBezTo>
                <a:cubicBezTo>
                  <a:pt x="179" y="63"/>
                  <a:pt x="178" y="62"/>
                  <a:pt x="177" y="61"/>
                </a:cubicBezTo>
                <a:cubicBezTo>
                  <a:pt x="176" y="60"/>
                  <a:pt x="175" y="60"/>
                  <a:pt x="174" y="60"/>
                </a:cubicBezTo>
                <a:cubicBezTo>
                  <a:pt x="79" y="60"/>
                  <a:pt x="79" y="60"/>
                  <a:pt x="79" y="60"/>
                </a:cubicBezTo>
                <a:cubicBezTo>
                  <a:pt x="78" y="60"/>
                  <a:pt x="77" y="60"/>
                  <a:pt x="76" y="61"/>
                </a:cubicBezTo>
                <a:cubicBezTo>
                  <a:pt x="55" y="82"/>
                  <a:pt x="55" y="82"/>
                  <a:pt x="55" y="82"/>
                </a:cubicBezTo>
                <a:cubicBezTo>
                  <a:pt x="33" y="61"/>
                  <a:pt x="33" y="61"/>
                  <a:pt x="33" y="61"/>
                </a:cubicBezTo>
                <a:cubicBezTo>
                  <a:pt x="32" y="60"/>
                  <a:pt x="30" y="59"/>
                  <a:pt x="28" y="60"/>
                </a:cubicBezTo>
                <a:cubicBezTo>
                  <a:pt x="15" y="64"/>
                  <a:pt x="15" y="64"/>
                  <a:pt x="15" y="64"/>
                </a:cubicBezTo>
                <a:cubicBezTo>
                  <a:pt x="6" y="67"/>
                  <a:pt x="0" y="76"/>
                  <a:pt x="0" y="86"/>
                </a:cubicBezTo>
                <a:cubicBezTo>
                  <a:pt x="0" y="154"/>
                  <a:pt x="0" y="154"/>
                  <a:pt x="0" y="154"/>
                </a:cubicBezTo>
                <a:cubicBezTo>
                  <a:pt x="0" y="166"/>
                  <a:pt x="9" y="176"/>
                  <a:pt x="20" y="178"/>
                </a:cubicBezTo>
                <a:cubicBezTo>
                  <a:pt x="20" y="253"/>
                  <a:pt x="20" y="253"/>
                  <a:pt x="20" y="253"/>
                </a:cubicBezTo>
                <a:cubicBezTo>
                  <a:pt x="20" y="255"/>
                  <a:pt x="20" y="256"/>
                  <a:pt x="21" y="257"/>
                </a:cubicBezTo>
                <a:cubicBezTo>
                  <a:pt x="22" y="258"/>
                  <a:pt x="24" y="258"/>
                  <a:pt x="25" y="258"/>
                </a:cubicBezTo>
                <a:cubicBezTo>
                  <a:pt x="84" y="258"/>
                  <a:pt x="84" y="258"/>
                  <a:pt x="84" y="258"/>
                </a:cubicBezTo>
                <a:cubicBezTo>
                  <a:pt x="86" y="258"/>
                  <a:pt x="87" y="258"/>
                  <a:pt x="88" y="257"/>
                </a:cubicBezTo>
                <a:cubicBezTo>
                  <a:pt x="89" y="256"/>
                  <a:pt x="89" y="255"/>
                  <a:pt x="89" y="253"/>
                </a:cubicBezTo>
                <a:cubicBezTo>
                  <a:pt x="89" y="99"/>
                  <a:pt x="89" y="99"/>
                  <a:pt x="89" y="99"/>
                </a:cubicBezTo>
                <a:cubicBezTo>
                  <a:pt x="89" y="94"/>
                  <a:pt x="94" y="89"/>
                  <a:pt x="99" y="89"/>
                </a:cubicBezTo>
                <a:lnTo>
                  <a:pt x="154" y="89"/>
                </a:lnTo>
                <a:close/>
                <a:moveTo>
                  <a:pt x="79" y="99"/>
                </a:moveTo>
                <a:cubicBezTo>
                  <a:pt x="79" y="248"/>
                  <a:pt x="79" y="248"/>
                  <a:pt x="79" y="248"/>
                </a:cubicBezTo>
                <a:cubicBezTo>
                  <a:pt x="60" y="248"/>
                  <a:pt x="60" y="248"/>
                  <a:pt x="60" y="248"/>
                </a:cubicBezTo>
                <a:cubicBezTo>
                  <a:pt x="60" y="164"/>
                  <a:pt x="60" y="164"/>
                  <a:pt x="60" y="164"/>
                </a:cubicBezTo>
                <a:cubicBezTo>
                  <a:pt x="60" y="161"/>
                  <a:pt x="57" y="159"/>
                  <a:pt x="55" y="159"/>
                </a:cubicBezTo>
                <a:cubicBezTo>
                  <a:pt x="52" y="159"/>
                  <a:pt x="50" y="161"/>
                  <a:pt x="50" y="164"/>
                </a:cubicBezTo>
                <a:cubicBezTo>
                  <a:pt x="50" y="248"/>
                  <a:pt x="50" y="248"/>
                  <a:pt x="50" y="248"/>
                </a:cubicBezTo>
                <a:cubicBezTo>
                  <a:pt x="30" y="248"/>
                  <a:pt x="30" y="248"/>
                  <a:pt x="30" y="248"/>
                </a:cubicBezTo>
                <a:cubicBezTo>
                  <a:pt x="30" y="104"/>
                  <a:pt x="30" y="104"/>
                  <a:pt x="30" y="104"/>
                </a:cubicBezTo>
                <a:cubicBezTo>
                  <a:pt x="30" y="102"/>
                  <a:pt x="28" y="99"/>
                  <a:pt x="25" y="99"/>
                </a:cubicBezTo>
                <a:cubicBezTo>
                  <a:pt x="22" y="99"/>
                  <a:pt x="20" y="102"/>
                  <a:pt x="20" y="104"/>
                </a:cubicBezTo>
                <a:cubicBezTo>
                  <a:pt x="20" y="168"/>
                  <a:pt x="20" y="168"/>
                  <a:pt x="20" y="168"/>
                </a:cubicBezTo>
                <a:cubicBezTo>
                  <a:pt x="14" y="166"/>
                  <a:pt x="10" y="160"/>
                  <a:pt x="10" y="154"/>
                </a:cubicBezTo>
                <a:cubicBezTo>
                  <a:pt x="10" y="86"/>
                  <a:pt x="10" y="86"/>
                  <a:pt x="10" y="86"/>
                </a:cubicBezTo>
                <a:cubicBezTo>
                  <a:pt x="10" y="80"/>
                  <a:pt x="13" y="75"/>
                  <a:pt x="19" y="74"/>
                </a:cubicBezTo>
                <a:cubicBezTo>
                  <a:pt x="29" y="70"/>
                  <a:pt x="29" y="70"/>
                  <a:pt x="29" y="70"/>
                </a:cubicBezTo>
                <a:cubicBezTo>
                  <a:pt x="51" y="93"/>
                  <a:pt x="51" y="93"/>
                  <a:pt x="51" y="93"/>
                </a:cubicBezTo>
                <a:cubicBezTo>
                  <a:pt x="52" y="94"/>
                  <a:pt x="53" y="94"/>
                  <a:pt x="55" y="94"/>
                </a:cubicBezTo>
                <a:cubicBezTo>
                  <a:pt x="56" y="94"/>
                  <a:pt x="57" y="94"/>
                  <a:pt x="58" y="93"/>
                </a:cubicBezTo>
                <a:cubicBezTo>
                  <a:pt x="82" y="70"/>
                  <a:pt x="82" y="70"/>
                  <a:pt x="82" y="70"/>
                </a:cubicBezTo>
                <a:cubicBezTo>
                  <a:pt x="168" y="70"/>
                  <a:pt x="168" y="70"/>
                  <a:pt x="168" y="70"/>
                </a:cubicBezTo>
                <a:cubicBezTo>
                  <a:pt x="166" y="75"/>
                  <a:pt x="160" y="80"/>
                  <a:pt x="154" y="80"/>
                </a:cubicBezTo>
                <a:cubicBezTo>
                  <a:pt x="99" y="80"/>
                  <a:pt x="99" y="80"/>
                  <a:pt x="99" y="80"/>
                </a:cubicBezTo>
                <a:cubicBezTo>
                  <a:pt x="88" y="80"/>
                  <a:pt x="79" y="88"/>
                  <a:pt x="79" y="99"/>
                </a:cubicBezTo>
                <a:close/>
                <a:moveTo>
                  <a:pt x="233" y="184"/>
                </a:moveTo>
                <a:cubicBezTo>
                  <a:pt x="174" y="184"/>
                  <a:pt x="174" y="184"/>
                  <a:pt x="174" y="184"/>
                </a:cubicBezTo>
                <a:cubicBezTo>
                  <a:pt x="174" y="124"/>
                  <a:pt x="174" y="124"/>
                  <a:pt x="174" y="124"/>
                </a:cubicBezTo>
                <a:cubicBezTo>
                  <a:pt x="174" y="123"/>
                  <a:pt x="173" y="122"/>
                  <a:pt x="172" y="121"/>
                </a:cubicBezTo>
                <a:cubicBezTo>
                  <a:pt x="171" y="120"/>
                  <a:pt x="170" y="119"/>
                  <a:pt x="169" y="119"/>
                </a:cubicBezTo>
                <a:cubicBezTo>
                  <a:pt x="130" y="119"/>
                  <a:pt x="99" y="150"/>
                  <a:pt x="99" y="189"/>
                </a:cubicBezTo>
                <a:cubicBezTo>
                  <a:pt x="99" y="227"/>
                  <a:pt x="130" y="258"/>
                  <a:pt x="169" y="258"/>
                </a:cubicBezTo>
                <a:cubicBezTo>
                  <a:pt x="207" y="258"/>
                  <a:pt x="238" y="227"/>
                  <a:pt x="238" y="189"/>
                </a:cubicBezTo>
                <a:cubicBezTo>
                  <a:pt x="238" y="187"/>
                  <a:pt x="238" y="186"/>
                  <a:pt x="237" y="185"/>
                </a:cubicBezTo>
                <a:cubicBezTo>
                  <a:pt x="236" y="184"/>
                  <a:pt x="235" y="184"/>
                  <a:pt x="233" y="184"/>
                </a:cubicBezTo>
                <a:close/>
                <a:moveTo>
                  <a:pt x="109" y="189"/>
                </a:moveTo>
                <a:cubicBezTo>
                  <a:pt x="109" y="158"/>
                  <a:pt x="133" y="132"/>
                  <a:pt x="164" y="129"/>
                </a:cubicBezTo>
                <a:cubicBezTo>
                  <a:pt x="164" y="187"/>
                  <a:pt x="164" y="187"/>
                  <a:pt x="164" y="187"/>
                </a:cubicBezTo>
                <a:cubicBezTo>
                  <a:pt x="123" y="227"/>
                  <a:pt x="123" y="227"/>
                  <a:pt x="123" y="227"/>
                </a:cubicBezTo>
                <a:cubicBezTo>
                  <a:pt x="115" y="217"/>
                  <a:pt x="109" y="203"/>
                  <a:pt x="109" y="189"/>
                </a:cubicBezTo>
                <a:close/>
                <a:moveTo>
                  <a:pt x="169" y="248"/>
                </a:moveTo>
                <a:cubicBezTo>
                  <a:pt x="154" y="248"/>
                  <a:pt x="141" y="243"/>
                  <a:pt x="130" y="234"/>
                </a:cubicBezTo>
                <a:cubicBezTo>
                  <a:pt x="171" y="194"/>
                  <a:pt x="171" y="194"/>
                  <a:pt x="171" y="194"/>
                </a:cubicBezTo>
                <a:cubicBezTo>
                  <a:pt x="228" y="194"/>
                  <a:pt x="228" y="194"/>
                  <a:pt x="228" y="194"/>
                </a:cubicBezTo>
                <a:cubicBezTo>
                  <a:pt x="226" y="224"/>
                  <a:pt x="200" y="248"/>
                  <a:pt x="169" y="248"/>
                </a:cubicBezTo>
                <a:close/>
                <a:moveTo>
                  <a:pt x="189" y="99"/>
                </a:moveTo>
                <a:cubicBezTo>
                  <a:pt x="187" y="99"/>
                  <a:pt x="186" y="100"/>
                  <a:pt x="185" y="101"/>
                </a:cubicBezTo>
                <a:cubicBezTo>
                  <a:pt x="184" y="102"/>
                  <a:pt x="184" y="103"/>
                  <a:pt x="184" y="104"/>
                </a:cubicBezTo>
                <a:cubicBezTo>
                  <a:pt x="184" y="169"/>
                  <a:pt x="184" y="169"/>
                  <a:pt x="184" y="169"/>
                </a:cubicBezTo>
                <a:cubicBezTo>
                  <a:pt x="184" y="170"/>
                  <a:pt x="184" y="171"/>
                  <a:pt x="185" y="172"/>
                </a:cubicBezTo>
                <a:cubicBezTo>
                  <a:pt x="186" y="173"/>
                  <a:pt x="187" y="174"/>
                  <a:pt x="189" y="174"/>
                </a:cubicBezTo>
                <a:cubicBezTo>
                  <a:pt x="253" y="174"/>
                  <a:pt x="253" y="174"/>
                  <a:pt x="253" y="174"/>
                </a:cubicBezTo>
                <a:cubicBezTo>
                  <a:pt x="255" y="174"/>
                  <a:pt x="256" y="173"/>
                  <a:pt x="257" y="172"/>
                </a:cubicBezTo>
                <a:cubicBezTo>
                  <a:pt x="258" y="171"/>
                  <a:pt x="258" y="170"/>
                  <a:pt x="258" y="169"/>
                </a:cubicBezTo>
                <a:cubicBezTo>
                  <a:pt x="258" y="131"/>
                  <a:pt x="227" y="99"/>
                  <a:pt x="189" y="99"/>
                </a:cubicBezTo>
                <a:close/>
                <a:moveTo>
                  <a:pt x="194" y="164"/>
                </a:moveTo>
                <a:cubicBezTo>
                  <a:pt x="194" y="110"/>
                  <a:pt x="194" y="110"/>
                  <a:pt x="194" y="110"/>
                </a:cubicBezTo>
                <a:cubicBezTo>
                  <a:pt x="223" y="112"/>
                  <a:pt x="246" y="135"/>
                  <a:pt x="248" y="164"/>
                </a:cubicBezTo>
                <a:lnTo>
                  <a:pt x="194" y="164"/>
                </a:lnTo>
                <a:close/>
              </a:path>
            </a:pathLst>
          </a:custGeom>
          <a:solidFill>
            <a:srgbClr val="9C1521"/>
          </a:solidFill>
          <a:ln w="4862" cap="flat">
            <a:solidFill>
              <a:srgbClr val="9C1521"/>
            </a:solidFill>
            <a:prstDash val="solid"/>
            <a:miter/>
          </a:ln>
          <a:effectLst>
            <a:glow rad="101600">
              <a:schemeClr val="accent4">
                <a:lumMod val="20000"/>
                <a:lumOff val="80000"/>
                <a:alpha val="60000"/>
              </a:schemeClr>
            </a:glow>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66" name="Google Shape;4034;p21">
            <a:extLst>
              <a:ext uri="{FF2B5EF4-FFF2-40B4-BE49-F238E27FC236}">
                <a16:creationId xmlns:a16="http://schemas.microsoft.com/office/drawing/2014/main" id="{57B41F17-A960-3D24-40BC-BE9E7D29B305}"/>
              </a:ext>
            </a:extLst>
          </p:cNvPr>
          <p:cNvSpPr/>
          <p:nvPr/>
        </p:nvSpPr>
        <p:spPr>
          <a:xfrm>
            <a:off x="6611164" y="2414712"/>
            <a:ext cx="437845" cy="409109"/>
          </a:xfrm>
          <a:custGeom>
            <a:avLst/>
            <a:gdLst/>
            <a:ahLst/>
            <a:cxnLst/>
            <a:rect l="l" t="t" r="r" b="b"/>
            <a:pathLst>
              <a:path w="260" h="261" extrusionOk="0">
                <a:moveTo>
                  <a:pt x="75" y="110"/>
                </a:moveTo>
                <a:cubicBezTo>
                  <a:pt x="115" y="110"/>
                  <a:pt x="115" y="110"/>
                  <a:pt x="115" y="110"/>
                </a:cubicBezTo>
                <a:cubicBezTo>
                  <a:pt x="118" y="110"/>
                  <a:pt x="120" y="108"/>
                  <a:pt x="120" y="105"/>
                </a:cubicBezTo>
                <a:cubicBezTo>
                  <a:pt x="120" y="103"/>
                  <a:pt x="118" y="100"/>
                  <a:pt x="115" y="100"/>
                </a:cubicBezTo>
                <a:cubicBezTo>
                  <a:pt x="75" y="100"/>
                  <a:pt x="75" y="100"/>
                  <a:pt x="75" y="100"/>
                </a:cubicBezTo>
                <a:cubicBezTo>
                  <a:pt x="72" y="100"/>
                  <a:pt x="70" y="103"/>
                  <a:pt x="70" y="105"/>
                </a:cubicBezTo>
                <a:cubicBezTo>
                  <a:pt x="70" y="108"/>
                  <a:pt x="72" y="110"/>
                  <a:pt x="75" y="110"/>
                </a:cubicBezTo>
                <a:close/>
                <a:moveTo>
                  <a:pt x="75" y="161"/>
                </a:moveTo>
                <a:cubicBezTo>
                  <a:pt x="115" y="161"/>
                  <a:pt x="115" y="161"/>
                  <a:pt x="115" y="161"/>
                </a:cubicBezTo>
                <a:cubicBezTo>
                  <a:pt x="118" y="161"/>
                  <a:pt x="120" y="158"/>
                  <a:pt x="120" y="156"/>
                </a:cubicBezTo>
                <a:cubicBezTo>
                  <a:pt x="120" y="153"/>
                  <a:pt x="118" y="151"/>
                  <a:pt x="115" y="151"/>
                </a:cubicBezTo>
                <a:cubicBezTo>
                  <a:pt x="75" y="151"/>
                  <a:pt x="75" y="151"/>
                  <a:pt x="75" y="151"/>
                </a:cubicBezTo>
                <a:cubicBezTo>
                  <a:pt x="72" y="151"/>
                  <a:pt x="70" y="153"/>
                  <a:pt x="70" y="156"/>
                </a:cubicBezTo>
                <a:cubicBezTo>
                  <a:pt x="70" y="158"/>
                  <a:pt x="72" y="161"/>
                  <a:pt x="75" y="161"/>
                </a:cubicBezTo>
                <a:close/>
                <a:moveTo>
                  <a:pt x="115" y="201"/>
                </a:moveTo>
                <a:cubicBezTo>
                  <a:pt x="75" y="201"/>
                  <a:pt x="75" y="201"/>
                  <a:pt x="75" y="201"/>
                </a:cubicBezTo>
                <a:cubicBezTo>
                  <a:pt x="72" y="201"/>
                  <a:pt x="70" y="203"/>
                  <a:pt x="70" y="206"/>
                </a:cubicBezTo>
                <a:cubicBezTo>
                  <a:pt x="70" y="209"/>
                  <a:pt x="72" y="211"/>
                  <a:pt x="75" y="211"/>
                </a:cubicBezTo>
                <a:cubicBezTo>
                  <a:pt x="115" y="211"/>
                  <a:pt x="115" y="211"/>
                  <a:pt x="115" y="211"/>
                </a:cubicBezTo>
                <a:cubicBezTo>
                  <a:pt x="118" y="211"/>
                  <a:pt x="120" y="208"/>
                  <a:pt x="120" y="206"/>
                </a:cubicBezTo>
                <a:cubicBezTo>
                  <a:pt x="120" y="203"/>
                  <a:pt x="118" y="201"/>
                  <a:pt x="115" y="201"/>
                </a:cubicBezTo>
                <a:close/>
                <a:moveTo>
                  <a:pt x="51" y="82"/>
                </a:moveTo>
                <a:cubicBezTo>
                  <a:pt x="35" y="98"/>
                  <a:pt x="35" y="98"/>
                  <a:pt x="35" y="98"/>
                </a:cubicBezTo>
                <a:cubicBezTo>
                  <a:pt x="28" y="92"/>
                  <a:pt x="28" y="92"/>
                  <a:pt x="28" y="92"/>
                </a:cubicBezTo>
                <a:cubicBezTo>
                  <a:pt x="26" y="90"/>
                  <a:pt x="23" y="90"/>
                  <a:pt x="21" y="92"/>
                </a:cubicBezTo>
                <a:cubicBezTo>
                  <a:pt x="19" y="94"/>
                  <a:pt x="19" y="97"/>
                  <a:pt x="21" y="99"/>
                </a:cubicBezTo>
                <a:cubicBezTo>
                  <a:pt x="31" y="109"/>
                  <a:pt x="31" y="109"/>
                  <a:pt x="31" y="109"/>
                </a:cubicBezTo>
                <a:cubicBezTo>
                  <a:pt x="32" y="110"/>
                  <a:pt x="33" y="110"/>
                  <a:pt x="35" y="110"/>
                </a:cubicBezTo>
                <a:cubicBezTo>
                  <a:pt x="36" y="110"/>
                  <a:pt x="37" y="110"/>
                  <a:pt x="38" y="109"/>
                </a:cubicBezTo>
                <a:cubicBezTo>
                  <a:pt x="58" y="89"/>
                  <a:pt x="58" y="89"/>
                  <a:pt x="58" y="89"/>
                </a:cubicBezTo>
                <a:cubicBezTo>
                  <a:pt x="60" y="87"/>
                  <a:pt x="60" y="84"/>
                  <a:pt x="58" y="82"/>
                </a:cubicBezTo>
                <a:cubicBezTo>
                  <a:pt x="56" y="80"/>
                  <a:pt x="53" y="80"/>
                  <a:pt x="51" y="82"/>
                </a:cubicBezTo>
                <a:close/>
                <a:moveTo>
                  <a:pt x="51" y="132"/>
                </a:moveTo>
                <a:cubicBezTo>
                  <a:pt x="51" y="132"/>
                  <a:pt x="51" y="132"/>
                  <a:pt x="51" y="132"/>
                </a:cubicBezTo>
                <a:cubicBezTo>
                  <a:pt x="35" y="148"/>
                  <a:pt x="35" y="148"/>
                  <a:pt x="35" y="148"/>
                </a:cubicBezTo>
                <a:cubicBezTo>
                  <a:pt x="28" y="142"/>
                  <a:pt x="28" y="142"/>
                  <a:pt x="28" y="142"/>
                </a:cubicBezTo>
                <a:cubicBezTo>
                  <a:pt x="26" y="140"/>
                  <a:pt x="23" y="140"/>
                  <a:pt x="21" y="142"/>
                </a:cubicBezTo>
                <a:cubicBezTo>
                  <a:pt x="19" y="144"/>
                  <a:pt x="19" y="147"/>
                  <a:pt x="21" y="149"/>
                </a:cubicBezTo>
                <a:cubicBezTo>
                  <a:pt x="31" y="159"/>
                  <a:pt x="31" y="159"/>
                  <a:pt x="31" y="159"/>
                </a:cubicBezTo>
                <a:cubicBezTo>
                  <a:pt x="32" y="160"/>
                  <a:pt x="33" y="161"/>
                  <a:pt x="35" y="161"/>
                </a:cubicBezTo>
                <a:cubicBezTo>
                  <a:pt x="36" y="161"/>
                  <a:pt x="37" y="160"/>
                  <a:pt x="38" y="159"/>
                </a:cubicBezTo>
                <a:cubicBezTo>
                  <a:pt x="58" y="139"/>
                  <a:pt x="58" y="139"/>
                  <a:pt x="58" y="139"/>
                </a:cubicBezTo>
                <a:cubicBezTo>
                  <a:pt x="60" y="137"/>
                  <a:pt x="60" y="134"/>
                  <a:pt x="58" y="132"/>
                </a:cubicBezTo>
                <a:cubicBezTo>
                  <a:pt x="56" y="130"/>
                  <a:pt x="53" y="130"/>
                  <a:pt x="51" y="132"/>
                </a:cubicBezTo>
                <a:close/>
                <a:moveTo>
                  <a:pt x="51" y="182"/>
                </a:moveTo>
                <a:cubicBezTo>
                  <a:pt x="51" y="182"/>
                  <a:pt x="51" y="182"/>
                  <a:pt x="51" y="182"/>
                </a:cubicBezTo>
                <a:cubicBezTo>
                  <a:pt x="35" y="199"/>
                  <a:pt x="35" y="199"/>
                  <a:pt x="35" y="199"/>
                </a:cubicBezTo>
                <a:cubicBezTo>
                  <a:pt x="28" y="192"/>
                  <a:pt x="28" y="192"/>
                  <a:pt x="28" y="192"/>
                </a:cubicBezTo>
                <a:cubicBezTo>
                  <a:pt x="26" y="190"/>
                  <a:pt x="23" y="190"/>
                  <a:pt x="21" y="192"/>
                </a:cubicBezTo>
                <a:cubicBezTo>
                  <a:pt x="19" y="194"/>
                  <a:pt x="19" y="197"/>
                  <a:pt x="21" y="199"/>
                </a:cubicBezTo>
                <a:cubicBezTo>
                  <a:pt x="31" y="209"/>
                  <a:pt x="31" y="209"/>
                  <a:pt x="31" y="209"/>
                </a:cubicBezTo>
                <a:cubicBezTo>
                  <a:pt x="32" y="210"/>
                  <a:pt x="33" y="211"/>
                  <a:pt x="35" y="211"/>
                </a:cubicBezTo>
                <a:cubicBezTo>
                  <a:pt x="36" y="211"/>
                  <a:pt x="37" y="210"/>
                  <a:pt x="38" y="209"/>
                </a:cubicBezTo>
                <a:cubicBezTo>
                  <a:pt x="58" y="189"/>
                  <a:pt x="58" y="189"/>
                  <a:pt x="58" y="189"/>
                </a:cubicBezTo>
                <a:cubicBezTo>
                  <a:pt x="60" y="187"/>
                  <a:pt x="60" y="184"/>
                  <a:pt x="58" y="182"/>
                </a:cubicBezTo>
                <a:cubicBezTo>
                  <a:pt x="56" y="180"/>
                  <a:pt x="53" y="180"/>
                  <a:pt x="51" y="182"/>
                </a:cubicBezTo>
                <a:close/>
                <a:moveTo>
                  <a:pt x="259" y="62"/>
                </a:moveTo>
                <a:cubicBezTo>
                  <a:pt x="258" y="61"/>
                  <a:pt x="257" y="60"/>
                  <a:pt x="255" y="60"/>
                </a:cubicBezTo>
                <a:cubicBezTo>
                  <a:pt x="200" y="60"/>
                  <a:pt x="200" y="60"/>
                  <a:pt x="200" y="60"/>
                </a:cubicBezTo>
                <a:cubicBezTo>
                  <a:pt x="200" y="15"/>
                  <a:pt x="200" y="15"/>
                  <a:pt x="200" y="15"/>
                </a:cubicBezTo>
                <a:cubicBezTo>
                  <a:pt x="200" y="7"/>
                  <a:pt x="193" y="0"/>
                  <a:pt x="185" y="0"/>
                </a:cubicBezTo>
                <a:cubicBezTo>
                  <a:pt x="55" y="0"/>
                  <a:pt x="55" y="0"/>
                  <a:pt x="55" y="0"/>
                </a:cubicBezTo>
                <a:cubicBezTo>
                  <a:pt x="53" y="0"/>
                  <a:pt x="52" y="1"/>
                  <a:pt x="51" y="2"/>
                </a:cubicBezTo>
                <a:cubicBezTo>
                  <a:pt x="1" y="52"/>
                  <a:pt x="1" y="52"/>
                  <a:pt x="1" y="52"/>
                </a:cubicBezTo>
                <a:cubicBezTo>
                  <a:pt x="0" y="53"/>
                  <a:pt x="0" y="54"/>
                  <a:pt x="0" y="55"/>
                </a:cubicBezTo>
                <a:cubicBezTo>
                  <a:pt x="0" y="246"/>
                  <a:pt x="0" y="246"/>
                  <a:pt x="0" y="246"/>
                </a:cubicBezTo>
                <a:cubicBezTo>
                  <a:pt x="0" y="254"/>
                  <a:pt x="6" y="261"/>
                  <a:pt x="15" y="261"/>
                </a:cubicBezTo>
                <a:cubicBezTo>
                  <a:pt x="185" y="261"/>
                  <a:pt x="185" y="261"/>
                  <a:pt x="185" y="261"/>
                </a:cubicBezTo>
                <a:cubicBezTo>
                  <a:pt x="193" y="261"/>
                  <a:pt x="200" y="254"/>
                  <a:pt x="200" y="246"/>
                </a:cubicBezTo>
                <a:cubicBezTo>
                  <a:pt x="200" y="231"/>
                  <a:pt x="200" y="231"/>
                  <a:pt x="200" y="231"/>
                </a:cubicBezTo>
                <a:cubicBezTo>
                  <a:pt x="255" y="231"/>
                  <a:pt x="255" y="231"/>
                  <a:pt x="255" y="231"/>
                </a:cubicBezTo>
                <a:cubicBezTo>
                  <a:pt x="257" y="231"/>
                  <a:pt x="258" y="230"/>
                  <a:pt x="259" y="229"/>
                </a:cubicBezTo>
                <a:cubicBezTo>
                  <a:pt x="260" y="228"/>
                  <a:pt x="260" y="227"/>
                  <a:pt x="260" y="226"/>
                </a:cubicBezTo>
                <a:cubicBezTo>
                  <a:pt x="260" y="65"/>
                  <a:pt x="260" y="65"/>
                  <a:pt x="260" y="65"/>
                </a:cubicBezTo>
                <a:cubicBezTo>
                  <a:pt x="260" y="64"/>
                  <a:pt x="260" y="63"/>
                  <a:pt x="259" y="62"/>
                </a:cubicBezTo>
                <a:close/>
                <a:moveTo>
                  <a:pt x="50" y="17"/>
                </a:moveTo>
                <a:cubicBezTo>
                  <a:pt x="50" y="45"/>
                  <a:pt x="50" y="45"/>
                  <a:pt x="50" y="45"/>
                </a:cubicBezTo>
                <a:cubicBezTo>
                  <a:pt x="50" y="48"/>
                  <a:pt x="48" y="50"/>
                  <a:pt x="45" y="50"/>
                </a:cubicBezTo>
                <a:cubicBezTo>
                  <a:pt x="17" y="50"/>
                  <a:pt x="17" y="50"/>
                  <a:pt x="17" y="50"/>
                </a:cubicBezTo>
                <a:lnTo>
                  <a:pt x="50" y="17"/>
                </a:lnTo>
                <a:close/>
                <a:moveTo>
                  <a:pt x="190" y="246"/>
                </a:moveTo>
                <a:cubicBezTo>
                  <a:pt x="190" y="249"/>
                  <a:pt x="188" y="251"/>
                  <a:pt x="185" y="251"/>
                </a:cubicBezTo>
                <a:cubicBezTo>
                  <a:pt x="15" y="251"/>
                  <a:pt x="15" y="251"/>
                  <a:pt x="15" y="251"/>
                </a:cubicBezTo>
                <a:cubicBezTo>
                  <a:pt x="12" y="251"/>
                  <a:pt x="10" y="249"/>
                  <a:pt x="10" y="246"/>
                </a:cubicBezTo>
                <a:cubicBezTo>
                  <a:pt x="10" y="60"/>
                  <a:pt x="10" y="60"/>
                  <a:pt x="10" y="60"/>
                </a:cubicBezTo>
                <a:cubicBezTo>
                  <a:pt x="45" y="60"/>
                  <a:pt x="45" y="60"/>
                  <a:pt x="45" y="60"/>
                </a:cubicBezTo>
                <a:cubicBezTo>
                  <a:pt x="53" y="60"/>
                  <a:pt x="60" y="54"/>
                  <a:pt x="60" y="45"/>
                </a:cubicBezTo>
                <a:cubicBezTo>
                  <a:pt x="60" y="10"/>
                  <a:pt x="60" y="10"/>
                  <a:pt x="60" y="10"/>
                </a:cubicBezTo>
                <a:cubicBezTo>
                  <a:pt x="185" y="10"/>
                  <a:pt x="185" y="10"/>
                  <a:pt x="185" y="10"/>
                </a:cubicBezTo>
                <a:cubicBezTo>
                  <a:pt x="188" y="10"/>
                  <a:pt x="190" y="12"/>
                  <a:pt x="190" y="15"/>
                </a:cubicBezTo>
                <a:cubicBezTo>
                  <a:pt x="190" y="60"/>
                  <a:pt x="190" y="60"/>
                  <a:pt x="190" y="60"/>
                </a:cubicBezTo>
                <a:cubicBezTo>
                  <a:pt x="135" y="60"/>
                  <a:pt x="135" y="60"/>
                  <a:pt x="135" y="60"/>
                </a:cubicBezTo>
                <a:cubicBezTo>
                  <a:pt x="134" y="60"/>
                  <a:pt x="132" y="61"/>
                  <a:pt x="131" y="62"/>
                </a:cubicBezTo>
                <a:cubicBezTo>
                  <a:pt x="131" y="63"/>
                  <a:pt x="130" y="64"/>
                  <a:pt x="130" y="65"/>
                </a:cubicBezTo>
                <a:cubicBezTo>
                  <a:pt x="130" y="80"/>
                  <a:pt x="130" y="80"/>
                  <a:pt x="130" y="80"/>
                </a:cubicBezTo>
                <a:cubicBezTo>
                  <a:pt x="75" y="80"/>
                  <a:pt x="75" y="80"/>
                  <a:pt x="75" y="80"/>
                </a:cubicBezTo>
                <a:cubicBezTo>
                  <a:pt x="72" y="80"/>
                  <a:pt x="70" y="83"/>
                  <a:pt x="70" y="85"/>
                </a:cubicBezTo>
                <a:cubicBezTo>
                  <a:pt x="70" y="88"/>
                  <a:pt x="72" y="90"/>
                  <a:pt x="75" y="90"/>
                </a:cubicBezTo>
                <a:cubicBezTo>
                  <a:pt x="130" y="90"/>
                  <a:pt x="130" y="90"/>
                  <a:pt x="130" y="90"/>
                </a:cubicBezTo>
                <a:cubicBezTo>
                  <a:pt x="130" y="131"/>
                  <a:pt x="130" y="131"/>
                  <a:pt x="130" y="131"/>
                </a:cubicBezTo>
                <a:cubicBezTo>
                  <a:pt x="75" y="131"/>
                  <a:pt x="75" y="131"/>
                  <a:pt x="75" y="131"/>
                </a:cubicBezTo>
                <a:cubicBezTo>
                  <a:pt x="72" y="131"/>
                  <a:pt x="70" y="133"/>
                  <a:pt x="70" y="136"/>
                </a:cubicBezTo>
                <a:cubicBezTo>
                  <a:pt x="70" y="138"/>
                  <a:pt x="72" y="141"/>
                  <a:pt x="75" y="141"/>
                </a:cubicBezTo>
                <a:cubicBezTo>
                  <a:pt x="130" y="141"/>
                  <a:pt x="130" y="141"/>
                  <a:pt x="130" y="141"/>
                </a:cubicBezTo>
                <a:cubicBezTo>
                  <a:pt x="130" y="181"/>
                  <a:pt x="130" y="181"/>
                  <a:pt x="130" y="181"/>
                </a:cubicBezTo>
                <a:cubicBezTo>
                  <a:pt x="75" y="181"/>
                  <a:pt x="75" y="181"/>
                  <a:pt x="75" y="181"/>
                </a:cubicBezTo>
                <a:cubicBezTo>
                  <a:pt x="72" y="181"/>
                  <a:pt x="70" y="183"/>
                  <a:pt x="70" y="186"/>
                </a:cubicBezTo>
                <a:cubicBezTo>
                  <a:pt x="70" y="188"/>
                  <a:pt x="72" y="191"/>
                  <a:pt x="75" y="191"/>
                </a:cubicBezTo>
                <a:cubicBezTo>
                  <a:pt x="130" y="191"/>
                  <a:pt x="130" y="191"/>
                  <a:pt x="130" y="191"/>
                </a:cubicBezTo>
                <a:cubicBezTo>
                  <a:pt x="130" y="226"/>
                  <a:pt x="130" y="226"/>
                  <a:pt x="130" y="226"/>
                </a:cubicBezTo>
                <a:cubicBezTo>
                  <a:pt x="130" y="227"/>
                  <a:pt x="131" y="228"/>
                  <a:pt x="131" y="229"/>
                </a:cubicBezTo>
                <a:cubicBezTo>
                  <a:pt x="132" y="230"/>
                  <a:pt x="134" y="231"/>
                  <a:pt x="135" y="231"/>
                </a:cubicBezTo>
                <a:cubicBezTo>
                  <a:pt x="190" y="231"/>
                  <a:pt x="190" y="231"/>
                  <a:pt x="190" y="231"/>
                </a:cubicBezTo>
                <a:lnTo>
                  <a:pt x="190" y="246"/>
                </a:lnTo>
                <a:close/>
                <a:moveTo>
                  <a:pt x="190" y="221"/>
                </a:moveTo>
                <a:cubicBezTo>
                  <a:pt x="140" y="221"/>
                  <a:pt x="140" y="221"/>
                  <a:pt x="140" y="221"/>
                </a:cubicBezTo>
                <a:cubicBezTo>
                  <a:pt x="140" y="171"/>
                  <a:pt x="140" y="171"/>
                  <a:pt x="140" y="171"/>
                </a:cubicBezTo>
                <a:cubicBezTo>
                  <a:pt x="190" y="171"/>
                  <a:pt x="190" y="171"/>
                  <a:pt x="190" y="171"/>
                </a:cubicBezTo>
                <a:lnTo>
                  <a:pt x="190" y="221"/>
                </a:lnTo>
                <a:close/>
                <a:moveTo>
                  <a:pt x="190" y="161"/>
                </a:moveTo>
                <a:cubicBezTo>
                  <a:pt x="140" y="161"/>
                  <a:pt x="140" y="161"/>
                  <a:pt x="140" y="161"/>
                </a:cubicBezTo>
                <a:cubicBezTo>
                  <a:pt x="140" y="110"/>
                  <a:pt x="140" y="110"/>
                  <a:pt x="140" y="110"/>
                </a:cubicBezTo>
                <a:cubicBezTo>
                  <a:pt x="190" y="110"/>
                  <a:pt x="190" y="110"/>
                  <a:pt x="190" y="110"/>
                </a:cubicBezTo>
                <a:lnTo>
                  <a:pt x="190" y="161"/>
                </a:lnTo>
                <a:close/>
                <a:moveTo>
                  <a:pt x="250" y="221"/>
                </a:moveTo>
                <a:cubicBezTo>
                  <a:pt x="200" y="221"/>
                  <a:pt x="200" y="221"/>
                  <a:pt x="200" y="221"/>
                </a:cubicBezTo>
                <a:cubicBezTo>
                  <a:pt x="200" y="110"/>
                  <a:pt x="200" y="110"/>
                  <a:pt x="200" y="110"/>
                </a:cubicBezTo>
                <a:cubicBezTo>
                  <a:pt x="250" y="110"/>
                  <a:pt x="250" y="110"/>
                  <a:pt x="250" y="110"/>
                </a:cubicBezTo>
                <a:lnTo>
                  <a:pt x="250" y="221"/>
                </a:lnTo>
                <a:close/>
                <a:moveTo>
                  <a:pt x="250" y="100"/>
                </a:moveTo>
                <a:cubicBezTo>
                  <a:pt x="140" y="100"/>
                  <a:pt x="140" y="100"/>
                  <a:pt x="140" y="100"/>
                </a:cubicBezTo>
                <a:cubicBezTo>
                  <a:pt x="140" y="85"/>
                  <a:pt x="140" y="85"/>
                  <a:pt x="140" y="85"/>
                </a:cubicBezTo>
                <a:cubicBezTo>
                  <a:pt x="140" y="85"/>
                  <a:pt x="140" y="85"/>
                  <a:pt x="140" y="85"/>
                </a:cubicBezTo>
                <a:cubicBezTo>
                  <a:pt x="140" y="85"/>
                  <a:pt x="140" y="85"/>
                  <a:pt x="140" y="85"/>
                </a:cubicBezTo>
                <a:cubicBezTo>
                  <a:pt x="140" y="70"/>
                  <a:pt x="140" y="70"/>
                  <a:pt x="140" y="70"/>
                </a:cubicBezTo>
                <a:cubicBezTo>
                  <a:pt x="250" y="70"/>
                  <a:pt x="250" y="70"/>
                  <a:pt x="250" y="70"/>
                </a:cubicBezTo>
                <a:lnTo>
                  <a:pt x="250" y="100"/>
                </a:lnTo>
                <a:close/>
                <a:moveTo>
                  <a:pt x="215" y="161"/>
                </a:moveTo>
                <a:cubicBezTo>
                  <a:pt x="235" y="161"/>
                  <a:pt x="235" y="161"/>
                  <a:pt x="235" y="161"/>
                </a:cubicBezTo>
                <a:cubicBezTo>
                  <a:pt x="238" y="161"/>
                  <a:pt x="240" y="158"/>
                  <a:pt x="240" y="156"/>
                </a:cubicBezTo>
                <a:cubicBezTo>
                  <a:pt x="240" y="153"/>
                  <a:pt x="238" y="151"/>
                  <a:pt x="235" y="151"/>
                </a:cubicBezTo>
                <a:cubicBezTo>
                  <a:pt x="215" y="151"/>
                  <a:pt x="215" y="151"/>
                  <a:pt x="215" y="151"/>
                </a:cubicBezTo>
                <a:cubicBezTo>
                  <a:pt x="212" y="151"/>
                  <a:pt x="210" y="153"/>
                  <a:pt x="210" y="156"/>
                </a:cubicBezTo>
                <a:cubicBezTo>
                  <a:pt x="210" y="158"/>
                  <a:pt x="212" y="161"/>
                  <a:pt x="215" y="161"/>
                </a:cubicBezTo>
                <a:close/>
                <a:moveTo>
                  <a:pt x="235" y="171"/>
                </a:moveTo>
                <a:cubicBezTo>
                  <a:pt x="215" y="171"/>
                  <a:pt x="215" y="171"/>
                  <a:pt x="215" y="171"/>
                </a:cubicBezTo>
                <a:cubicBezTo>
                  <a:pt x="212" y="171"/>
                  <a:pt x="210" y="173"/>
                  <a:pt x="210" y="176"/>
                </a:cubicBezTo>
                <a:cubicBezTo>
                  <a:pt x="210" y="178"/>
                  <a:pt x="212" y="181"/>
                  <a:pt x="215" y="181"/>
                </a:cubicBezTo>
                <a:cubicBezTo>
                  <a:pt x="235" y="181"/>
                  <a:pt x="235" y="181"/>
                  <a:pt x="235" y="181"/>
                </a:cubicBezTo>
                <a:cubicBezTo>
                  <a:pt x="238" y="181"/>
                  <a:pt x="240" y="178"/>
                  <a:pt x="240" y="176"/>
                </a:cubicBezTo>
                <a:cubicBezTo>
                  <a:pt x="240" y="173"/>
                  <a:pt x="238" y="171"/>
                  <a:pt x="235" y="171"/>
                </a:cubicBezTo>
                <a:close/>
                <a:moveTo>
                  <a:pt x="155" y="141"/>
                </a:moveTo>
                <a:cubicBezTo>
                  <a:pt x="160" y="141"/>
                  <a:pt x="160" y="141"/>
                  <a:pt x="160" y="141"/>
                </a:cubicBezTo>
                <a:cubicBezTo>
                  <a:pt x="160" y="146"/>
                  <a:pt x="160" y="146"/>
                  <a:pt x="160" y="146"/>
                </a:cubicBezTo>
                <a:cubicBezTo>
                  <a:pt x="160" y="148"/>
                  <a:pt x="162" y="151"/>
                  <a:pt x="165" y="151"/>
                </a:cubicBezTo>
                <a:cubicBezTo>
                  <a:pt x="168" y="151"/>
                  <a:pt x="170" y="148"/>
                  <a:pt x="170" y="146"/>
                </a:cubicBezTo>
                <a:cubicBezTo>
                  <a:pt x="170" y="141"/>
                  <a:pt x="170" y="141"/>
                  <a:pt x="170" y="141"/>
                </a:cubicBezTo>
                <a:cubicBezTo>
                  <a:pt x="175" y="141"/>
                  <a:pt x="175" y="141"/>
                  <a:pt x="175" y="141"/>
                </a:cubicBezTo>
                <a:cubicBezTo>
                  <a:pt x="178" y="141"/>
                  <a:pt x="180" y="138"/>
                  <a:pt x="180" y="136"/>
                </a:cubicBezTo>
                <a:cubicBezTo>
                  <a:pt x="180" y="133"/>
                  <a:pt x="178" y="131"/>
                  <a:pt x="175" y="131"/>
                </a:cubicBezTo>
                <a:cubicBezTo>
                  <a:pt x="170" y="131"/>
                  <a:pt x="170" y="131"/>
                  <a:pt x="170" y="131"/>
                </a:cubicBezTo>
                <a:cubicBezTo>
                  <a:pt x="170" y="125"/>
                  <a:pt x="170" y="125"/>
                  <a:pt x="170" y="125"/>
                </a:cubicBezTo>
                <a:cubicBezTo>
                  <a:pt x="170" y="123"/>
                  <a:pt x="168" y="120"/>
                  <a:pt x="165" y="120"/>
                </a:cubicBezTo>
                <a:cubicBezTo>
                  <a:pt x="162" y="120"/>
                  <a:pt x="160" y="123"/>
                  <a:pt x="160" y="125"/>
                </a:cubicBezTo>
                <a:cubicBezTo>
                  <a:pt x="160" y="131"/>
                  <a:pt x="160" y="131"/>
                  <a:pt x="160" y="131"/>
                </a:cubicBezTo>
                <a:cubicBezTo>
                  <a:pt x="155" y="131"/>
                  <a:pt x="155" y="131"/>
                  <a:pt x="155" y="131"/>
                </a:cubicBezTo>
                <a:cubicBezTo>
                  <a:pt x="152" y="131"/>
                  <a:pt x="150" y="133"/>
                  <a:pt x="150" y="136"/>
                </a:cubicBezTo>
                <a:cubicBezTo>
                  <a:pt x="150" y="138"/>
                  <a:pt x="152" y="141"/>
                  <a:pt x="155" y="141"/>
                </a:cubicBezTo>
                <a:close/>
                <a:moveTo>
                  <a:pt x="155" y="201"/>
                </a:moveTo>
                <a:cubicBezTo>
                  <a:pt x="175" y="201"/>
                  <a:pt x="175" y="201"/>
                  <a:pt x="175" y="201"/>
                </a:cubicBezTo>
                <a:cubicBezTo>
                  <a:pt x="178" y="201"/>
                  <a:pt x="180" y="198"/>
                  <a:pt x="180" y="196"/>
                </a:cubicBezTo>
                <a:cubicBezTo>
                  <a:pt x="180" y="193"/>
                  <a:pt x="178" y="191"/>
                  <a:pt x="175" y="191"/>
                </a:cubicBezTo>
                <a:cubicBezTo>
                  <a:pt x="155" y="191"/>
                  <a:pt x="155" y="191"/>
                  <a:pt x="155" y="191"/>
                </a:cubicBezTo>
                <a:cubicBezTo>
                  <a:pt x="152" y="191"/>
                  <a:pt x="150" y="193"/>
                  <a:pt x="150" y="196"/>
                </a:cubicBezTo>
                <a:cubicBezTo>
                  <a:pt x="150" y="198"/>
                  <a:pt x="152" y="201"/>
                  <a:pt x="155" y="201"/>
                </a:cubicBezTo>
                <a:close/>
              </a:path>
            </a:pathLst>
          </a:custGeom>
          <a:solidFill>
            <a:srgbClr val="9C1521"/>
          </a:solidFill>
          <a:ln w="7441" cap="flat">
            <a:solidFill>
              <a:srgbClr val="9C1521"/>
            </a:solidFill>
            <a:prstDash val="solid"/>
            <a:miter/>
          </a:ln>
          <a:effectLst>
            <a:glow rad="101600">
              <a:schemeClr val="accent4">
                <a:lumMod val="20000"/>
                <a:lumOff val="80000"/>
                <a:alpha val="60000"/>
              </a:schemeClr>
            </a:glow>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grpSp>
        <p:nvGrpSpPr>
          <p:cNvPr id="71" name="Group 70">
            <a:extLst>
              <a:ext uri="{FF2B5EF4-FFF2-40B4-BE49-F238E27FC236}">
                <a16:creationId xmlns:a16="http://schemas.microsoft.com/office/drawing/2014/main" id="{DFFE48F1-83AA-3D1B-8572-E98B1E264C78}"/>
              </a:ext>
            </a:extLst>
          </p:cNvPr>
          <p:cNvGrpSpPr/>
          <p:nvPr/>
        </p:nvGrpSpPr>
        <p:grpSpPr>
          <a:xfrm>
            <a:off x="2807253" y="2451680"/>
            <a:ext cx="524071" cy="429839"/>
            <a:chOff x="2640369" y="1891014"/>
            <a:chExt cx="524071" cy="429839"/>
          </a:xfrm>
        </p:grpSpPr>
        <p:grpSp>
          <p:nvGrpSpPr>
            <p:cNvPr id="57" name="Google Shape;5012;p26">
              <a:extLst>
                <a:ext uri="{FF2B5EF4-FFF2-40B4-BE49-F238E27FC236}">
                  <a16:creationId xmlns:a16="http://schemas.microsoft.com/office/drawing/2014/main" id="{23452CF5-5786-BA86-FF3A-0D7C065A30F5}"/>
                </a:ext>
              </a:extLst>
            </p:cNvPr>
            <p:cNvGrpSpPr/>
            <p:nvPr/>
          </p:nvGrpSpPr>
          <p:grpSpPr>
            <a:xfrm>
              <a:off x="2640369" y="1891014"/>
              <a:ext cx="405335" cy="429839"/>
              <a:chOff x="3459163" y="3179763"/>
              <a:chExt cx="200125" cy="212725"/>
            </a:xfrm>
            <a:solidFill>
              <a:srgbClr val="9C1521"/>
            </a:solidFill>
            <a:effectLst>
              <a:glow rad="101600">
                <a:schemeClr val="accent4">
                  <a:lumMod val="20000"/>
                  <a:lumOff val="80000"/>
                  <a:alpha val="60000"/>
                </a:schemeClr>
              </a:glow>
            </a:effectLst>
          </p:grpSpPr>
          <p:sp>
            <p:nvSpPr>
              <p:cNvPr id="58" name="Google Shape;5013;p26">
                <a:extLst>
                  <a:ext uri="{FF2B5EF4-FFF2-40B4-BE49-F238E27FC236}">
                    <a16:creationId xmlns:a16="http://schemas.microsoft.com/office/drawing/2014/main" id="{6137F811-FF1B-EB8E-ABC1-89DC6B6CCFBF}"/>
                  </a:ext>
                </a:extLst>
              </p:cNvPr>
              <p:cNvSpPr/>
              <p:nvPr/>
            </p:nvSpPr>
            <p:spPr>
              <a:xfrm>
                <a:off x="3519488" y="3279776"/>
                <a:ext cx="139800" cy="11100"/>
              </a:xfrm>
              <a:prstGeom prst="rect">
                <a:avLst/>
              </a:prstGeom>
              <a:grp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61" name="Google Shape;5016;p26">
                <a:extLst>
                  <a:ext uri="{FF2B5EF4-FFF2-40B4-BE49-F238E27FC236}">
                    <a16:creationId xmlns:a16="http://schemas.microsoft.com/office/drawing/2014/main" id="{E30DCBE6-6259-87BE-DFB8-FD4CD6698F6C}"/>
                  </a:ext>
                </a:extLst>
              </p:cNvPr>
              <p:cNvSpPr/>
              <p:nvPr/>
            </p:nvSpPr>
            <p:spPr>
              <a:xfrm>
                <a:off x="3459164" y="3179763"/>
                <a:ext cx="112713" cy="88900"/>
              </a:xfrm>
              <a:custGeom>
                <a:avLst/>
                <a:gdLst/>
                <a:ahLst/>
                <a:cxnLst/>
                <a:rect l="l" t="t" r="r" b="b"/>
                <a:pathLst>
                  <a:path w="71" h="56" extrusionOk="0">
                    <a:moveTo>
                      <a:pt x="71" y="56"/>
                    </a:moveTo>
                    <a:lnTo>
                      <a:pt x="17" y="56"/>
                    </a:lnTo>
                    <a:lnTo>
                      <a:pt x="32" y="41"/>
                    </a:lnTo>
                    <a:lnTo>
                      <a:pt x="0" y="9"/>
                    </a:lnTo>
                    <a:lnTo>
                      <a:pt x="4" y="4"/>
                    </a:lnTo>
                    <a:lnTo>
                      <a:pt x="42" y="41"/>
                    </a:lnTo>
                    <a:lnTo>
                      <a:pt x="33" y="49"/>
                    </a:lnTo>
                    <a:lnTo>
                      <a:pt x="65" y="49"/>
                    </a:lnTo>
                    <a:lnTo>
                      <a:pt x="65" y="17"/>
                    </a:lnTo>
                    <a:lnTo>
                      <a:pt x="56" y="26"/>
                    </a:lnTo>
                    <a:lnTo>
                      <a:pt x="34" y="5"/>
                    </a:lnTo>
                    <a:lnTo>
                      <a:pt x="39" y="0"/>
                    </a:lnTo>
                    <a:lnTo>
                      <a:pt x="56" y="17"/>
                    </a:lnTo>
                    <a:lnTo>
                      <a:pt x="71" y="1"/>
                    </a:lnTo>
                    <a:lnTo>
                      <a:pt x="71" y="56"/>
                    </a:lnTo>
                    <a:close/>
                  </a:path>
                </a:pathLst>
              </a:custGeom>
              <a:grp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62" name="Google Shape;5017;p26">
                <a:extLst>
                  <a:ext uri="{FF2B5EF4-FFF2-40B4-BE49-F238E27FC236}">
                    <a16:creationId xmlns:a16="http://schemas.microsoft.com/office/drawing/2014/main" id="{9F475157-4B30-208B-8A02-07669BF7C14C}"/>
                  </a:ext>
                </a:extLst>
              </p:cNvPr>
              <p:cNvSpPr/>
              <p:nvPr/>
            </p:nvSpPr>
            <p:spPr>
              <a:xfrm>
                <a:off x="3459163" y="3303588"/>
                <a:ext cx="112713" cy="88900"/>
              </a:xfrm>
              <a:custGeom>
                <a:avLst/>
                <a:gdLst/>
                <a:ahLst/>
                <a:cxnLst/>
                <a:rect l="l" t="t" r="r" b="b"/>
                <a:pathLst>
                  <a:path w="71" h="56" extrusionOk="0">
                    <a:moveTo>
                      <a:pt x="39" y="56"/>
                    </a:moveTo>
                    <a:lnTo>
                      <a:pt x="34" y="51"/>
                    </a:lnTo>
                    <a:lnTo>
                      <a:pt x="56" y="30"/>
                    </a:lnTo>
                    <a:lnTo>
                      <a:pt x="64" y="39"/>
                    </a:lnTo>
                    <a:lnTo>
                      <a:pt x="64" y="6"/>
                    </a:lnTo>
                    <a:lnTo>
                      <a:pt x="33" y="6"/>
                    </a:lnTo>
                    <a:lnTo>
                      <a:pt x="41" y="15"/>
                    </a:lnTo>
                    <a:lnTo>
                      <a:pt x="4" y="52"/>
                    </a:lnTo>
                    <a:lnTo>
                      <a:pt x="0" y="47"/>
                    </a:lnTo>
                    <a:lnTo>
                      <a:pt x="32" y="15"/>
                    </a:lnTo>
                    <a:lnTo>
                      <a:pt x="17" y="0"/>
                    </a:lnTo>
                    <a:lnTo>
                      <a:pt x="71" y="0"/>
                    </a:lnTo>
                    <a:lnTo>
                      <a:pt x="71" y="55"/>
                    </a:lnTo>
                    <a:lnTo>
                      <a:pt x="56" y="39"/>
                    </a:lnTo>
                    <a:lnTo>
                      <a:pt x="39" y="56"/>
                    </a:lnTo>
                    <a:close/>
                  </a:path>
                </a:pathLst>
              </a:custGeom>
              <a:grp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59" name="Google Shape;5014;p26">
                <a:extLst>
                  <a:ext uri="{FF2B5EF4-FFF2-40B4-BE49-F238E27FC236}">
                    <a16:creationId xmlns:a16="http://schemas.microsoft.com/office/drawing/2014/main" id="{EB872A16-4D39-EB5D-4CB7-9BE9244D7F52}"/>
                  </a:ext>
                </a:extLst>
              </p:cNvPr>
              <p:cNvSpPr/>
              <p:nvPr/>
            </p:nvSpPr>
            <p:spPr>
              <a:xfrm>
                <a:off x="3582988" y="3216276"/>
                <a:ext cx="11100" cy="138000"/>
              </a:xfrm>
              <a:prstGeom prst="rect">
                <a:avLst/>
              </a:prstGeom>
              <a:grp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grpSp>
        <p:sp>
          <p:nvSpPr>
            <p:cNvPr id="67" name="Google Shape;5016;p26">
              <a:extLst>
                <a:ext uri="{FF2B5EF4-FFF2-40B4-BE49-F238E27FC236}">
                  <a16:creationId xmlns:a16="http://schemas.microsoft.com/office/drawing/2014/main" id="{A6A21D53-0521-33FD-EA38-68F169F61124}"/>
                </a:ext>
              </a:extLst>
            </p:cNvPr>
            <p:cNvSpPr/>
            <p:nvPr/>
          </p:nvSpPr>
          <p:spPr>
            <a:xfrm flipH="1">
              <a:off x="2936151" y="1891014"/>
              <a:ext cx="228289" cy="179634"/>
            </a:xfrm>
            <a:custGeom>
              <a:avLst/>
              <a:gdLst/>
              <a:ahLst/>
              <a:cxnLst/>
              <a:rect l="l" t="t" r="r" b="b"/>
              <a:pathLst>
                <a:path w="71" h="56" extrusionOk="0">
                  <a:moveTo>
                    <a:pt x="71" y="56"/>
                  </a:moveTo>
                  <a:lnTo>
                    <a:pt x="17" y="56"/>
                  </a:lnTo>
                  <a:lnTo>
                    <a:pt x="32" y="41"/>
                  </a:lnTo>
                  <a:lnTo>
                    <a:pt x="0" y="9"/>
                  </a:lnTo>
                  <a:lnTo>
                    <a:pt x="4" y="4"/>
                  </a:lnTo>
                  <a:lnTo>
                    <a:pt x="42" y="41"/>
                  </a:lnTo>
                  <a:lnTo>
                    <a:pt x="33" y="49"/>
                  </a:lnTo>
                  <a:lnTo>
                    <a:pt x="65" y="49"/>
                  </a:lnTo>
                  <a:lnTo>
                    <a:pt x="65" y="17"/>
                  </a:lnTo>
                  <a:lnTo>
                    <a:pt x="56" y="26"/>
                  </a:lnTo>
                  <a:lnTo>
                    <a:pt x="34" y="5"/>
                  </a:lnTo>
                  <a:lnTo>
                    <a:pt x="39" y="0"/>
                  </a:lnTo>
                  <a:lnTo>
                    <a:pt x="56" y="17"/>
                  </a:lnTo>
                  <a:lnTo>
                    <a:pt x="71" y="1"/>
                  </a:lnTo>
                  <a:lnTo>
                    <a:pt x="71" y="56"/>
                  </a:lnTo>
                  <a:close/>
                </a:path>
              </a:pathLst>
            </a:custGeom>
            <a:solidFill>
              <a:srgbClr val="9C1521"/>
            </a:solidFill>
            <a:ln w="7441" cap="flat">
              <a:solidFill>
                <a:srgbClr val="9C1521"/>
              </a:solidFill>
              <a:prstDash val="solid"/>
              <a:miter/>
            </a:ln>
            <a:effectLst>
              <a:glow rad="101600">
                <a:schemeClr val="accent4">
                  <a:lumMod val="20000"/>
                  <a:lumOff val="80000"/>
                  <a:alpha val="60000"/>
                </a:schemeClr>
              </a:glow>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68" name="Google Shape;5017;p26">
              <a:extLst>
                <a:ext uri="{FF2B5EF4-FFF2-40B4-BE49-F238E27FC236}">
                  <a16:creationId xmlns:a16="http://schemas.microsoft.com/office/drawing/2014/main" id="{DF5157CC-7139-477C-3406-E5E2CA86A74F}"/>
                </a:ext>
              </a:extLst>
            </p:cNvPr>
            <p:cNvSpPr/>
            <p:nvPr/>
          </p:nvSpPr>
          <p:spPr>
            <a:xfrm flipH="1">
              <a:off x="2936151" y="2141219"/>
              <a:ext cx="228288" cy="179634"/>
            </a:xfrm>
            <a:custGeom>
              <a:avLst/>
              <a:gdLst/>
              <a:ahLst/>
              <a:cxnLst/>
              <a:rect l="l" t="t" r="r" b="b"/>
              <a:pathLst>
                <a:path w="71" h="56" extrusionOk="0">
                  <a:moveTo>
                    <a:pt x="39" y="56"/>
                  </a:moveTo>
                  <a:lnTo>
                    <a:pt x="34" y="51"/>
                  </a:lnTo>
                  <a:lnTo>
                    <a:pt x="56" y="30"/>
                  </a:lnTo>
                  <a:lnTo>
                    <a:pt x="64" y="39"/>
                  </a:lnTo>
                  <a:lnTo>
                    <a:pt x="64" y="6"/>
                  </a:lnTo>
                  <a:lnTo>
                    <a:pt x="33" y="6"/>
                  </a:lnTo>
                  <a:lnTo>
                    <a:pt x="41" y="15"/>
                  </a:lnTo>
                  <a:lnTo>
                    <a:pt x="4" y="52"/>
                  </a:lnTo>
                  <a:lnTo>
                    <a:pt x="0" y="47"/>
                  </a:lnTo>
                  <a:lnTo>
                    <a:pt x="32" y="15"/>
                  </a:lnTo>
                  <a:lnTo>
                    <a:pt x="17" y="0"/>
                  </a:lnTo>
                  <a:lnTo>
                    <a:pt x="71" y="0"/>
                  </a:lnTo>
                  <a:lnTo>
                    <a:pt x="71" y="55"/>
                  </a:lnTo>
                  <a:lnTo>
                    <a:pt x="56" y="39"/>
                  </a:lnTo>
                  <a:lnTo>
                    <a:pt x="39" y="56"/>
                  </a:lnTo>
                  <a:close/>
                </a:path>
              </a:pathLst>
            </a:custGeom>
            <a:solidFill>
              <a:srgbClr val="9C1521"/>
            </a:solidFill>
            <a:ln w="7441" cap="flat">
              <a:solidFill>
                <a:srgbClr val="9C1521"/>
              </a:solidFill>
              <a:prstDash val="solid"/>
              <a:miter/>
            </a:ln>
            <a:effectLst>
              <a:glow rad="101600">
                <a:schemeClr val="accent4">
                  <a:lumMod val="20000"/>
                  <a:lumOff val="80000"/>
                  <a:alpha val="60000"/>
                </a:schemeClr>
              </a:glow>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69" name="Google Shape;5014;p26">
              <a:extLst>
                <a:ext uri="{FF2B5EF4-FFF2-40B4-BE49-F238E27FC236}">
                  <a16:creationId xmlns:a16="http://schemas.microsoft.com/office/drawing/2014/main" id="{0275F8BD-A169-7D87-52F3-7649059AA6D6}"/>
                </a:ext>
              </a:extLst>
            </p:cNvPr>
            <p:cNvSpPr/>
            <p:nvPr/>
          </p:nvSpPr>
          <p:spPr>
            <a:xfrm>
              <a:off x="2890349" y="1964698"/>
              <a:ext cx="22482" cy="278847"/>
            </a:xfrm>
            <a:prstGeom prst="rect">
              <a:avLst/>
            </a:prstGeom>
            <a:solidFill>
              <a:srgbClr val="9C1521"/>
            </a:solid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sp>
          <p:nvSpPr>
            <p:cNvPr id="70" name="Google Shape;5014;p26">
              <a:extLst>
                <a:ext uri="{FF2B5EF4-FFF2-40B4-BE49-F238E27FC236}">
                  <a16:creationId xmlns:a16="http://schemas.microsoft.com/office/drawing/2014/main" id="{8E0234AC-99A8-051B-BB1E-17168CAC80F9}"/>
                </a:ext>
              </a:extLst>
            </p:cNvPr>
            <p:cNvSpPr/>
            <p:nvPr/>
          </p:nvSpPr>
          <p:spPr>
            <a:xfrm rot="5400000">
              <a:off x="2895039" y="1964698"/>
              <a:ext cx="22482" cy="278847"/>
            </a:xfrm>
            <a:prstGeom prst="rect">
              <a:avLst/>
            </a:prstGeom>
            <a:solidFill>
              <a:srgbClr val="9C1521"/>
            </a:solidFill>
            <a:ln w="7441" cap="flat">
              <a:solidFill>
                <a:srgbClr val="9C1521"/>
              </a:solidFill>
              <a:prstDash val="solid"/>
              <a:miter/>
            </a:ln>
            <a:effectLst/>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1" i="0" u="none" strike="noStrike" cap="none">
                <a:solidFill>
                  <a:schemeClr val="dk1"/>
                </a:solidFill>
                <a:ea typeface="Arial"/>
                <a:cs typeface="Arial"/>
                <a:sym typeface="Arial"/>
              </a:endParaRPr>
            </a:p>
          </p:txBody>
        </p:sp>
      </p:grpSp>
      <p:pic>
        <p:nvPicPr>
          <p:cNvPr id="4" name="Picture 3" descr="Sia Partners Introduces SiaGPT | Business Wire">
            <a:extLst>
              <a:ext uri="{FF2B5EF4-FFF2-40B4-BE49-F238E27FC236}">
                <a16:creationId xmlns:a16="http://schemas.microsoft.com/office/drawing/2014/main" id="{8DB4CD34-D3EF-AC31-E19A-3479FD9ED6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2D0F328-D55B-6E1B-F45C-00A32C6E3639}"/>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40105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8B08394-F966-9EFD-C3BD-7332BE107D35}"/>
              </a:ext>
            </a:extLst>
          </p:cNvPr>
          <p:cNvSpPr/>
          <p:nvPr/>
        </p:nvSpPr>
        <p:spPr>
          <a:xfrm>
            <a:off x="10096344" y="561723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a:bodyPr>
          <a:lstStyle/>
          <a:p>
            <a:r>
              <a:rPr lang="en-GB" sz="2800"/>
              <a:t>Commercial Arrangement Options for Flex Direct</a:t>
            </a:r>
          </a:p>
        </p:txBody>
      </p:sp>
      <p:sp>
        <p:nvSpPr>
          <p:cNvPr id="6" name="TextBox 5">
            <a:extLst>
              <a:ext uri="{FF2B5EF4-FFF2-40B4-BE49-F238E27FC236}">
                <a16:creationId xmlns:a16="http://schemas.microsoft.com/office/drawing/2014/main" id="{84AEE208-2228-9A04-BC68-B0695A027B66}"/>
              </a:ext>
            </a:extLst>
          </p:cNvPr>
          <p:cNvSpPr txBox="1"/>
          <p:nvPr/>
        </p:nvSpPr>
        <p:spPr>
          <a:xfrm>
            <a:off x="465372" y="1045223"/>
            <a:ext cx="11013824" cy="523220"/>
          </a:xfrm>
          <a:prstGeom prst="rect">
            <a:avLst/>
          </a:prstGeom>
          <a:noFill/>
        </p:spPr>
        <p:txBody>
          <a:bodyPr wrap="square" rtlCol="0">
            <a:spAutoFit/>
          </a:bodyPr>
          <a:lstStyle/>
          <a:p>
            <a:pPr algn="just" defTabSz="1219170">
              <a:buClr>
                <a:srgbClr val="000000"/>
              </a:buClr>
              <a:defRPr/>
            </a:pPr>
            <a:r>
              <a:rPr lang="en-GB" sz="1400" b="1" kern="0" dirty="0">
                <a:latin typeface="Arial" panose="020B0604020202020204" pitchFamily="34" charset="0"/>
                <a:cs typeface="Arial" panose="020B0604020202020204" pitchFamily="34" charset="0"/>
              </a:rPr>
              <a:t>We have considered several different options for the novel commercial models and contractual frameworks to enable the direct provision of ‘sustain’ flexibility by Local Authorities and Social Housing Providers through energy efficiency upgrades. </a:t>
            </a:r>
          </a:p>
        </p:txBody>
      </p:sp>
      <p:sp>
        <p:nvSpPr>
          <p:cNvPr id="31" name="Rectangle: Rounded Corners 30">
            <a:extLst>
              <a:ext uri="{FF2B5EF4-FFF2-40B4-BE49-F238E27FC236}">
                <a16:creationId xmlns:a16="http://schemas.microsoft.com/office/drawing/2014/main" id="{6C5CCE13-8369-3AC3-FDE1-394139271284}"/>
              </a:ext>
            </a:extLst>
          </p:cNvPr>
          <p:cNvSpPr/>
          <p:nvPr/>
        </p:nvSpPr>
        <p:spPr>
          <a:xfrm>
            <a:off x="8289059" y="2313895"/>
            <a:ext cx="2978139" cy="1067952"/>
          </a:xfrm>
          <a:prstGeom prst="roundRect">
            <a:avLst>
              <a:gd name="adj" fmla="val 12166"/>
            </a:avLst>
          </a:prstGeom>
          <a:solidFill>
            <a:schemeClr val="accent2">
              <a:lumMod val="20000"/>
              <a:lumOff val="80000"/>
            </a:schemeClr>
          </a:solidFill>
          <a:ln w="9525" cap="flat" cmpd="sng" algn="ctr">
            <a:noFill/>
            <a:prstDash val="solid"/>
          </a:ln>
          <a:effectLst/>
        </p:spPr>
        <p:txBody>
          <a:bodyPr rtlCol="0" anchor="ctr"/>
          <a:lstStyle/>
          <a:p>
            <a:pPr algn="ctr"/>
            <a:endParaRPr lang="en-GB" sz="1200" kern="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17CBF0CA-2797-338F-5A75-CFA63CC93D50}"/>
              </a:ext>
            </a:extLst>
          </p:cNvPr>
          <p:cNvSpPr txBox="1"/>
          <p:nvPr/>
        </p:nvSpPr>
        <p:spPr>
          <a:xfrm>
            <a:off x="8287630" y="2358014"/>
            <a:ext cx="2654257" cy="577081"/>
          </a:xfrm>
          <a:prstGeom prst="rect">
            <a:avLst/>
          </a:prstGeom>
          <a:noFill/>
          <a:ln>
            <a:noFill/>
          </a:ln>
        </p:spPr>
        <p:txBody>
          <a:bodyPr wrap="square" rtlCol="0">
            <a:spAutoFit/>
          </a:bodyPr>
          <a:lstStyle/>
          <a:p>
            <a:pPr algn="ctr"/>
            <a:r>
              <a:rPr lang="en-GB" sz="1050" b="1" i="1">
                <a:latin typeface="Arial" panose="020B0604020202020204" pitchFamily="34" charset="0"/>
                <a:cs typeface="Arial" panose="020B0604020202020204" pitchFamily="34" charset="0"/>
              </a:rPr>
              <a:t>Enhanced Business As Usual Scenario</a:t>
            </a:r>
          </a:p>
          <a:p>
            <a:pPr algn="ctr"/>
            <a:endParaRPr lang="en-GB" sz="1050" b="1" i="1">
              <a:solidFill>
                <a:srgbClr val="383838"/>
              </a:solidFill>
              <a:latin typeface="Arial" panose="020B0604020202020204" pitchFamily="34" charset="0"/>
              <a:cs typeface="Arial" panose="020B0604020202020204" pitchFamily="34" charset="0"/>
            </a:endParaRPr>
          </a:p>
        </p:txBody>
      </p:sp>
      <p:sp>
        <p:nvSpPr>
          <p:cNvPr id="33" name="Rectangle: Rounded Corners 32">
            <a:extLst>
              <a:ext uri="{FF2B5EF4-FFF2-40B4-BE49-F238E27FC236}">
                <a16:creationId xmlns:a16="http://schemas.microsoft.com/office/drawing/2014/main" id="{F7B4BF86-ACAE-EA44-9862-43E8B85D622A}"/>
              </a:ext>
            </a:extLst>
          </p:cNvPr>
          <p:cNvSpPr/>
          <p:nvPr/>
        </p:nvSpPr>
        <p:spPr>
          <a:xfrm>
            <a:off x="8275990" y="3607774"/>
            <a:ext cx="2991208" cy="1050425"/>
          </a:xfrm>
          <a:prstGeom prst="roundRect">
            <a:avLst>
              <a:gd name="adj" fmla="val 11266"/>
            </a:avLst>
          </a:prstGeom>
          <a:solidFill>
            <a:schemeClr val="accent2">
              <a:lumMod val="20000"/>
              <a:lumOff val="80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BDB745B2-6C06-ECBA-F71C-7A7095A9D72A}"/>
              </a:ext>
            </a:extLst>
          </p:cNvPr>
          <p:cNvSpPr txBox="1"/>
          <p:nvPr/>
        </p:nvSpPr>
        <p:spPr>
          <a:xfrm>
            <a:off x="8345692" y="3671465"/>
            <a:ext cx="2745109" cy="577081"/>
          </a:xfrm>
          <a:prstGeom prst="rect">
            <a:avLst/>
          </a:prstGeom>
          <a:noFill/>
          <a:ln>
            <a:noFill/>
          </a:ln>
        </p:spPr>
        <p:txBody>
          <a:bodyPr wrap="square" rtlCol="0">
            <a:spAutoFit/>
          </a:bodyPr>
          <a:lstStyle/>
          <a:p>
            <a:pPr algn="ctr"/>
            <a:r>
              <a:rPr lang="en-GB" sz="1050" b="1" i="1">
                <a:latin typeface="Arial" panose="020B0604020202020204" pitchFamily="34" charset="0"/>
                <a:cs typeface="Arial" panose="020B0604020202020204" pitchFamily="34" charset="0"/>
              </a:rPr>
              <a:t>Direct Contracting with Local Authorities</a:t>
            </a:r>
          </a:p>
          <a:p>
            <a:pPr algn="ctr"/>
            <a:endParaRPr lang="en-GB" sz="1050" b="1" i="1">
              <a:solidFill>
                <a:srgbClr val="FFFFFF"/>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F1F239BC-9545-AF9B-9246-A4D9B1F71CA3}"/>
              </a:ext>
            </a:extLst>
          </p:cNvPr>
          <p:cNvSpPr/>
          <p:nvPr/>
        </p:nvSpPr>
        <p:spPr>
          <a:xfrm>
            <a:off x="8297813" y="4821687"/>
            <a:ext cx="2991207" cy="1428461"/>
          </a:xfrm>
          <a:prstGeom prst="roundRect">
            <a:avLst>
              <a:gd name="adj" fmla="val 13066"/>
            </a:avLst>
          </a:prstGeom>
          <a:solidFill>
            <a:schemeClr val="accent2">
              <a:lumMod val="20000"/>
              <a:lumOff val="80000"/>
            </a:schemeClr>
          </a:solidFill>
          <a:ln w="9525" cap="flat" cmpd="sng" algn="ctr">
            <a:noFill/>
            <a:prstDash val="solid"/>
          </a:ln>
          <a:effectLst/>
        </p:spPr>
        <p:txBody>
          <a:bodyPr rtlCol="0" anchor="ctr"/>
          <a:lstStyle/>
          <a:p>
            <a:pPr algn="ctr"/>
            <a:endParaRPr lang="en-GB" sz="1200" kern="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FE4F7089-2493-9973-355E-38434849F1FB}"/>
              </a:ext>
            </a:extLst>
          </p:cNvPr>
          <p:cNvSpPr txBox="1"/>
          <p:nvPr/>
        </p:nvSpPr>
        <p:spPr>
          <a:xfrm>
            <a:off x="8287630" y="4879292"/>
            <a:ext cx="2895024" cy="577081"/>
          </a:xfrm>
          <a:prstGeom prst="rect">
            <a:avLst/>
          </a:prstGeom>
          <a:noFill/>
          <a:ln>
            <a:noFill/>
          </a:ln>
        </p:spPr>
        <p:txBody>
          <a:bodyPr wrap="square" rtlCol="0">
            <a:spAutoFit/>
          </a:bodyPr>
          <a:lstStyle/>
          <a:p>
            <a:pPr algn="ctr"/>
            <a:r>
              <a:rPr lang="en-GB" sz="1050" b="1" i="1">
                <a:latin typeface="Arial" panose="020B0604020202020204" pitchFamily="34" charset="0"/>
                <a:cs typeface="Arial" panose="020B0604020202020204" pitchFamily="34" charset="0"/>
              </a:rPr>
              <a:t>Direct Contracting with Local Authorities, and wider supply chain </a:t>
            </a:r>
          </a:p>
          <a:p>
            <a:pPr algn="ctr"/>
            <a:endParaRPr lang="en-GB" sz="1050" b="1" i="1">
              <a:solidFill>
                <a:srgbClr val="FFFFFF"/>
              </a:solidFill>
              <a:latin typeface="Arial" panose="020B0604020202020204" pitchFamily="34" charset="0"/>
              <a:cs typeface="Arial" panose="020B0604020202020204" pitchFamily="34" charset="0"/>
            </a:endParaRPr>
          </a:p>
        </p:txBody>
      </p:sp>
      <p:sp>
        <p:nvSpPr>
          <p:cNvPr id="43" name="Rectangle: Rounded Corners 42">
            <a:extLst>
              <a:ext uri="{FF2B5EF4-FFF2-40B4-BE49-F238E27FC236}">
                <a16:creationId xmlns:a16="http://schemas.microsoft.com/office/drawing/2014/main" id="{2E459594-8A91-C584-D339-F848F5FF2BA0}"/>
              </a:ext>
            </a:extLst>
          </p:cNvPr>
          <p:cNvSpPr/>
          <p:nvPr/>
        </p:nvSpPr>
        <p:spPr>
          <a:xfrm>
            <a:off x="7857324" y="1692475"/>
            <a:ext cx="3409874" cy="476580"/>
          </a:xfrm>
          <a:prstGeom prst="roundRect">
            <a:avLst/>
          </a:prstGeom>
          <a:solidFill>
            <a:srgbClr val="C55A11"/>
          </a:solidFill>
          <a:ln w="12700" cap="flat" cmpd="sng" algn="ctr">
            <a:no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Commercial Arrangement Option</a:t>
            </a:r>
            <a:r>
              <a:rPr lang="en-GB" sz="1400" b="1" kern="0">
                <a:solidFill>
                  <a:schemeClr val="bg1"/>
                </a:solidFill>
                <a:latin typeface="Arial" panose="020B0604020202020204" pitchFamily="34" charset="0"/>
                <a:cs typeface="Arial" panose="020B0604020202020204" pitchFamily="34" charset="0"/>
              </a:rPr>
              <a:t>s</a:t>
            </a:r>
            <a:endPar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6" name="Rectangle: Rounded Corners 45">
            <a:extLst>
              <a:ext uri="{FF2B5EF4-FFF2-40B4-BE49-F238E27FC236}">
                <a16:creationId xmlns:a16="http://schemas.microsoft.com/office/drawing/2014/main" id="{2B227725-83C5-DCBA-6746-F0DD4631C3B2}"/>
              </a:ext>
            </a:extLst>
          </p:cNvPr>
          <p:cNvSpPr/>
          <p:nvPr/>
        </p:nvSpPr>
        <p:spPr>
          <a:xfrm>
            <a:off x="7865592" y="3609403"/>
            <a:ext cx="330185" cy="1065512"/>
          </a:xfrm>
          <a:prstGeom prst="roundRect">
            <a:avLst>
              <a:gd name="adj" fmla="val 35308"/>
            </a:avLst>
          </a:prstGeom>
          <a:solidFill>
            <a:schemeClr val="accent2">
              <a:lumMod val="20000"/>
              <a:lumOff val="80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tx1">
                    <a:lumMod val="65000"/>
                    <a:lumOff val="35000"/>
                  </a:schemeClr>
                </a:solidFill>
                <a:effectLst/>
                <a:uLnTx/>
                <a:uFillTx/>
                <a:latin typeface="Arial" panose="020B0604020202020204" pitchFamily="34" charset="0"/>
                <a:cs typeface="Arial" panose="020B0604020202020204" pitchFamily="34" charset="0"/>
              </a:rPr>
              <a:t>2</a:t>
            </a:r>
          </a:p>
        </p:txBody>
      </p:sp>
      <p:sp>
        <p:nvSpPr>
          <p:cNvPr id="47" name="Rectangle: Rounded Corners 46">
            <a:extLst>
              <a:ext uri="{FF2B5EF4-FFF2-40B4-BE49-F238E27FC236}">
                <a16:creationId xmlns:a16="http://schemas.microsoft.com/office/drawing/2014/main" id="{6380A40F-31AA-ED7D-5CBC-98806B4B9655}"/>
              </a:ext>
            </a:extLst>
          </p:cNvPr>
          <p:cNvSpPr/>
          <p:nvPr/>
        </p:nvSpPr>
        <p:spPr>
          <a:xfrm>
            <a:off x="7865592" y="2316336"/>
            <a:ext cx="330185" cy="1065511"/>
          </a:xfrm>
          <a:prstGeom prst="roundRect">
            <a:avLst>
              <a:gd name="adj" fmla="val 35308"/>
            </a:avLst>
          </a:prstGeom>
          <a:solidFill>
            <a:schemeClr val="accent2">
              <a:lumMod val="20000"/>
              <a:lumOff val="80000"/>
            </a:schemeClr>
          </a:solidFill>
          <a:ln w="9525" cap="flat" cmpd="sng" algn="ctr">
            <a:noFill/>
            <a:prstDash val="solid"/>
          </a:ln>
          <a:effectLst/>
        </p:spPr>
        <p:txBody>
          <a:bodyPr rtlCol="0" anchor="ctr"/>
          <a:lstStyle/>
          <a:p>
            <a:pPr algn="ctr"/>
            <a:r>
              <a:rPr lang="en-GB" sz="1200" b="1" kern="0">
                <a:solidFill>
                  <a:schemeClr val="tx1">
                    <a:lumMod val="65000"/>
                    <a:lumOff val="35000"/>
                  </a:schemeClr>
                </a:solidFill>
                <a:latin typeface="Arial" panose="020B0604020202020204" pitchFamily="34" charset="0"/>
                <a:cs typeface="Arial" panose="020B0604020202020204" pitchFamily="34" charset="0"/>
              </a:rPr>
              <a:t>1</a:t>
            </a:r>
          </a:p>
        </p:txBody>
      </p:sp>
      <p:sp>
        <p:nvSpPr>
          <p:cNvPr id="48" name="Rectangle: Rounded Corners 47">
            <a:extLst>
              <a:ext uri="{FF2B5EF4-FFF2-40B4-BE49-F238E27FC236}">
                <a16:creationId xmlns:a16="http://schemas.microsoft.com/office/drawing/2014/main" id="{B5559495-0295-50CC-2D02-94090262A264}"/>
              </a:ext>
            </a:extLst>
          </p:cNvPr>
          <p:cNvSpPr/>
          <p:nvPr/>
        </p:nvSpPr>
        <p:spPr>
          <a:xfrm>
            <a:off x="7879149" y="4821687"/>
            <a:ext cx="330185" cy="1428461"/>
          </a:xfrm>
          <a:prstGeom prst="roundRect">
            <a:avLst>
              <a:gd name="adj" fmla="val 35308"/>
            </a:avLst>
          </a:prstGeom>
          <a:solidFill>
            <a:schemeClr val="accent2">
              <a:lumMod val="20000"/>
              <a:lumOff val="80000"/>
            </a:schemeClr>
          </a:solidFill>
          <a:ln w="9525" cap="flat" cmpd="sng" algn="ctr">
            <a:noFill/>
            <a:prstDash val="solid"/>
          </a:ln>
          <a:effectLst/>
        </p:spPr>
        <p:txBody>
          <a:bodyPr rtlCol="0" anchor="ctr"/>
          <a:lstStyle/>
          <a:p>
            <a:pPr algn="ctr"/>
            <a:r>
              <a:rPr lang="en-GB" sz="1200" b="1" kern="0">
                <a:solidFill>
                  <a:schemeClr val="tx1">
                    <a:lumMod val="65000"/>
                    <a:lumOff val="35000"/>
                  </a:schemeClr>
                </a:solidFill>
                <a:latin typeface="Arial" panose="020B0604020202020204" pitchFamily="34" charset="0"/>
                <a:cs typeface="Arial" panose="020B0604020202020204" pitchFamily="34" charset="0"/>
              </a:rPr>
              <a:t>3</a:t>
            </a:r>
          </a:p>
        </p:txBody>
      </p:sp>
      <p:sp>
        <p:nvSpPr>
          <p:cNvPr id="44" name="Rectangle: Rounded Corners 43">
            <a:extLst>
              <a:ext uri="{FF2B5EF4-FFF2-40B4-BE49-F238E27FC236}">
                <a16:creationId xmlns:a16="http://schemas.microsoft.com/office/drawing/2014/main" id="{BE5B9A3C-B526-6BFE-E174-3ACB3F126EE6}"/>
              </a:ext>
            </a:extLst>
          </p:cNvPr>
          <p:cNvSpPr/>
          <p:nvPr/>
        </p:nvSpPr>
        <p:spPr>
          <a:xfrm>
            <a:off x="4230464" y="1692372"/>
            <a:ext cx="3409874" cy="476580"/>
          </a:xfrm>
          <a:prstGeom prst="roundRect">
            <a:avLst/>
          </a:prstGeom>
          <a:solidFill>
            <a:srgbClr val="9C1521"/>
          </a:solidFill>
          <a:ln w="12700" cap="flat" cmpd="sng" algn="ctr">
            <a:no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ossible Tools / Components</a:t>
            </a:r>
          </a:p>
        </p:txBody>
      </p:sp>
      <p:sp>
        <p:nvSpPr>
          <p:cNvPr id="49" name="Arrow: Up 48">
            <a:extLst>
              <a:ext uri="{FF2B5EF4-FFF2-40B4-BE49-F238E27FC236}">
                <a16:creationId xmlns:a16="http://schemas.microsoft.com/office/drawing/2014/main" id="{00EB7D81-3108-84B4-F552-670F69BAFE11}"/>
              </a:ext>
            </a:extLst>
          </p:cNvPr>
          <p:cNvSpPr/>
          <p:nvPr/>
        </p:nvSpPr>
        <p:spPr>
          <a:xfrm rot="10800000">
            <a:off x="7230736" y="2227347"/>
            <a:ext cx="424000" cy="4102769"/>
          </a:xfrm>
          <a:prstGeom prst="upArrow">
            <a:avLst/>
          </a:prstGeom>
          <a:gradFill flip="none" rotWithShape="1">
            <a:gsLst>
              <a:gs pos="0">
                <a:schemeClr val="bg1"/>
              </a:gs>
              <a:gs pos="65030">
                <a:srgbClr val="BD281E"/>
              </a:gs>
              <a:gs pos="35000">
                <a:srgbClr val="FFC5C5"/>
              </a:gs>
              <a:gs pos="100000">
                <a:srgbClr val="9C1521"/>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i="0" u="none" strike="noStrike" kern="0" cap="none" spc="0" normalizeH="0" baseline="0" noProof="0">
              <a:ln>
                <a:noFill/>
              </a:ln>
              <a:solidFill>
                <a:schemeClr val="accent2"/>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2BA489FB-8949-360F-CBE4-7C7ED3FF88B5}"/>
              </a:ext>
            </a:extLst>
          </p:cNvPr>
          <p:cNvSpPr txBox="1"/>
          <p:nvPr/>
        </p:nvSpPr>
        <p:spPr>
          <a:xfrm rot="16200000">
            <a:off x="5726764" y="3657945"/>
            <a:ext cx="3414676" cy="230832"/>
          </a:xfrm>
          <a:prstGeom prst="rect">
            <a:avLst/>
          </a:prstGeom>
          <a:noFill/>
        </p:spPr>
        <p:txBody>
          <a:bodyPr wrap="square" rtlCol="0">
            <a:spAutoFit/>
          </a:bodyPr>
          <a:lstStyle/>
          <a:p>
            <a:r>
              <a:rPr lang="en-GB" sz="900" b="1">
                <a:latin typeface="Arial" panose="020B0604020202020204" pitchFamily="34" charset="0"/>
                <a:cs typeface="Arial" panose="020B0604020202020204" pitchFamily="34" charset="0"/>
              </a:rPr>
              <a:t>Increasing level of change to current system </a:t>
            </a:r>
          </a:p>
        </p:txBody>
      </p:sp>
      <p:sp>
        <p:nvSpPr>
          <p:cNvPr id="8" name="Rectangle: Rounded Corners 7">
            <a:extLst>
              <a:ext uri="{FF2B5EF4-FFF2-40B4-BE49-F238E27FC236}">
                <a16:creationId xmlns:a16="http://schemas.microsoft.com/office/drawing/2014/main" id="{F5BAD3F1-7F34-EB2D-7BDC-F08564A5EEB6}"/>
              </a:ext>
            </a:extLst>
          </p:cNvPr>
          <p:cNvSpPr/>
          <p:nvPr/>
        </p:nvSpPr>
        <p:spPr>
          <a:xfrm>
            <a:off x="4276339" y="2743315"/>
            <a:ext cx="2876391" cy="367416"/>
          </a:xfrm>
          <a:prstGeom prst="roundRect">
            <a:avLst>
              <a:gd name="adj" fmla="val 12166"/>
            </a:avLst>
          </a:prstGeom>
          <a:solidFill>
            <a:srgbClr val="FFE5E5"/>
          </a:solidFill>
          <a:ln w="12700" cap="flat" cmpd="sng" algn="ctr">
            <a:solidFill>
              <a:srgbClr val="9C15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effectLst/>
                <a:uLnTx/>
                <a:uFillTx/>
                <a:latin typeface="Arial" panose="020B0604020202020204" pitchFamily="34" charset="0"/>
                <a:cs typeface="Arial" panose="020B0604020202020204" pitchFamily="34" charset="0"/>
              </a:rPr>
              <a:t>Longer Contract lengths</a:t>
            </a:r>
          </a:p>
        </p:txBody>
      </p:sp>
      <p:sp>
        <p:nvSpPr>
          <p:cNvPr id="9" name="Rectangle: Rounded Corners 8">
            <a:extLst>
              <a:ext uri="{FF2B5EF4-FFF2-40B4-BE49-F238E27FC236}">
                <a16:creationId xmlns:a16="http://schemas.microsoft.com/office/drawing/2014/main" id="{C54F2911-7D85-ED43-80BD-E8BFFD0E2590}"/>
              </a:ext>
            </a:extLst>
          </p:cNvPr>
          <p:cNvSpPr/>
          <p:nvPr/>
        </p:nvSpPr>
        <p:spPr>
          <a:xfrm>
            <a:off x="4276339" y="3943247"/>
            <a:ext cx="2876391" cy="367416"/>
          </a:xfrm>
          <a:prstGeom prst="roundRect">
            <a:avLst>
              <a:gd name="adj" fmla="val 12166"/>
            </a:avLst>
          </a:prstGeom>
          <a:solidFill>
            <a:srgbClr val="FFE5E5"/>
          </a:solidFill>
          <a:ln w="12700" cap="flat" cmpd="sng" algn="ctr">
            <a:solidFill>
              <a:srgbClr val="9C15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latin typeface="Arial" panose="020B0604020202020204" pitchFamily="34" charset="0"/>
                <a:cs typeface="Arial" panose="020B0604020202020204" pitchFamily="34" charset="0"/>
              </a:rPr>
              <a:t>Alignment with central energy efficiency </a:t>
            </a:r>
            <a:r>
              <a:rPr lang="en-GB" sz="1200" kern="0" dirty="0">
                <a:latin typeface="Arial" panose="020B0604020202020204" pitchFamily="34" charset="0"/>
                <a:cs typeface="Arial" panose="020B0604020202020204" pitchFamily="34" charset="0"/>
              </a:rPr>
              <a:t>f</a:t>
            </a:r>
            <a:r>
              <a:rPr kumimoji="0" lang="en-GB" sz="1200" i="0" u="none" strike="noStrike" kern="0" cap="none" spc="0" normalizeH="0" baseline="0" noProof="0" dirty="0" err="1">
                <a:ln>
                  <a:noFill/>
                </a:ln>
                <a:effectLst/>
                <a:uLnTx/>
                <a:uFillTx/>
                <a:latin typeface="Arial" panose="020B0604020202020204" pitchFamily="34" charset="0"/>
                <a:cs typeface="Arial" panose="020B0604020202020204" pitchFamily="34" charset="0"/>
              </a:rPr>
              <a:t>unding</a:t>
            </a:r>
            <a:endParaRPr kumimoji="0" lang="en-GB" sz="120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29813BDA-6260-1522-3BDA-A365ECB087C0}"/>
              </a:ext>
            </a:extLst>
          </p:cNvPr>
          <p:cNvSpPr/>
          <p:nvPr/>
        </p:nvSpPr>
        <p:spPr>
          <a:xfrm>
            <a:off x="4276339" y="4404478"/>
            <a:ext cx="2876391" cy="367416"/>
          </a:xfrm>
          <a:prstGeom prst="roundRect">
            <a:avLst>
              <a:gd name="adj" fmla="val 12166"/>
            </a:avLst>
          </a:prstGeom>
          <a:solidFill>
            <a:srgbClr val="FFE5E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latin typeface="Arial" panose="020B0604020202020204" pitchFamily="34" charset="0"/>
                <a:cs typeface="Arial" panose="020B0604020202020204" pitchFamily="34" charset="0"/>
              </a:rPr>
              <a:t>Procurement Outside of Constraint Management Zones</a:t>
            </a:r>
          </a:p>
        </p:txBody>
      </p:sp>
      <p:sp>
        <p:nvSpPr>
          <p:cNvPr id="11" name="Rectangle: Rounded Corners 10">
            <a:extLst>
              <a:ext uri="{FF2B5EF4-FFF2-40B4-BE49-F238E27FC236}">
                <a16:creationId xmlns:a16="http://schemas.microsoft.com/office/drawing/2014/main" id="{508B34C2-B095-29A1-1EC0-C892C531F386}"/>
              </a:ext>
            </a:extLst>
          </p:cNvPr>
          <p:cNvSpPr/>
          <p:nvPr/>
        </p:nvSpPr>
        <p:spPr>
          <a:xfrm>
            <a:off x="4276339" y="4912953"/>
            <a:ext cx="2876391" cy="816345"/>
          </a:xfrm>
          <a:prstGeom prst="roundRect">
            <a:avLst>
              <a:gd name="adj" fmla="val 12166"/>
            </a:avLst>
          </a:prstGeom>
          <a:solidFill>
            <a:srgbClr val="FFE5E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effectLst/>
                <a:uLnTx/>
                <a:uFillTx/>
                <a:latin typeface="Arial" panose="020B0604020202020204" pitchFamily="34" charset="0"/>
                <a:cs typeface="Arial" panose="020B0604020202020204" pitchFamily="34" charset="0"/>
              </a:rPr>
              <a:t>DNO Capital Incentives</a:t>
            </a:r>
          </a:p>
          <a:p>
            <a:pPr algn="ctr">
              <a:defRPr/>
            </a:pPr>
            <a:r>
              <a:rPr kumimoji="0" lang="en-GB" sz="1200" i="0" u="none" strike="noStrike" kern="0" cap="none" spc="0" normalizeH="0" baseline="0" noProof="0">
                <a:ln>
                  <a:noFill/>
                </a:ln>
                <a:effectLst/>
                <a:uLnTx/>
                <a:uFillTx/>
                <a:latin typeface="Arial" panose="020B0604020202020204" pitchFamily="34" charset="0"/>
                <a:cs typeface="Arial" panose="020B0604020202020204" pitchFamily="34" charset="0"/>
              </a:rPr>
              <a:t>Ofgem Capital Incentives</a:t>
            </a:r>
          </a:p>
        </p:txBody>
      </p:sp>
      <p:sp>
        <p:nvSpPr>
          <p:cNvPr id="13" name="Rectangle: Rounded Corners 12">
            <a:extLst>
              <a:ext uri="{FF2B5EF4-FFF2-40B4-BE49-F238E27FC236}">
                <a16:creationId xmlns:a16="http://schemas.microsoft.com/office/drawing/2014/main" id="{D844BB57-FDE5-3046-2823-5A43C69CD0B1}"/>
              </a:ext>
            </a:extLst>
          </p:cNvPr>
          <p:cNvSpPr/>
          <p:nvPr/>
        </p:nvSpPr>
        <p:spPr>
          <a:xfrm>
            <a:off x="4276339" y="2299118"/>
            <a:ext cx="2876391" cy="367416"/>
          </a:xfrm>
          <a:prstGeom prst="roundRect">
            <a:avLst>
              <a:gd name="adj" fmla="val 12166"/>
            </a:avLst>
          </a:prstGeom>
          <a:solidFill>
            <a:srgbClr val="FFE5E5"/>
          </a:solidFill>
          <a:ln w="12700" cap="flat" cmpd="sng" algn="ctr">
            <a:solidFill>
              <a:srgbClr val="9C15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latin typeface="Arial" panose="020B0604020202020204" pitchFamily="34" charset="0"/>
                <a:cs typeface="Arial" panose="020B0604020202020204" pitchFamily="34" charset="0"/>
              </a:rPr>
              <a:t>Targeted marketing in Constraint Management Zones </a:t>
            </a:r>
          </a:p>
        </p:txBody>
      </p:sp>
      <p:sp>
        <p:nvSpPr>
          <p:cNvPr id="14" name="Rectangle: Rounded Corners 13">
            <a:extLst>
              <a:ext uri="{FF2B5EF4-FFF2-40B4-BE49-F238E27FC236}">
                <a16:creationId xmlns:a16="http://schemas.microsoft.com/office/drawing/2014/main" id="{A7844F08-1714-2077-55E6-1BDE8A4C6133}"/>
              </a:ext>
            </a:extLst>
          </p:cNvPr>
          <p:cNvSpPr/>
          <p:nvPr/>
        </p:nvSpPr>
        <p:spPr>
          <a:xfrm>
            <a:off x="4276339" y="3200989"/>
            <a:ext cx="2876391" cy="651911"/>
          </a:xfrm>
          <a:prstGeom prst="roundRect">
            <a:avLst>
              <a:gd name="adj" fmla="val 12166"/>
            </a:avLst>
          </a:prstGeom>
          <a:solidFill>
            <a:srgbClr val="FFE5E5"/>
          </a:solidFill>
          <a:ln w="12700" cap="flat" cmpd="sng" algn="ctr">
            <a:solidFill>
              <a:srgbClr val="9C15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effectLst/>
                <a:uLnTx/>
                <a:uFillTx/>
                <a:latin typeface="Arial" panose="020B0604020202020204" pitchFamily="34" charset="0"/>
                <a:cs typeface="Arial" panose="020B0604020202020204" pitchFamily="34" charset="0"/>
              </a:rPr>
              <a:t>Alternative Baselining Approaches</a:t>
            </a:r>
          </a:p>
        </p:txBody>
      </p:sp>
      <p:sp>
        <p:nvSpPr>
          <p:cNvPr id="15" name="Rectangle: Rounded Corners 14">
            <a:extLst>
              <a:ext uri="{FF2B5EF4-FFF2-40B4-BE49-F238E27FC236}">
                <a16:creationId xmlns:a16="http://schemas.microsoft.com/office/drawing/2014/main" id="{F10FA18B-84FE-E925-AF66-8E409457F346}"/>
              </a:ext>
            </a:extLst>
          </p:cNvPr>
          <p:cNvSpPr/>
          <p:nvPr/>
        </p:nvSpPr>
        <p:spPr>
          <a:xfrm>
            <a:off x="4276339" y="5874484"/>
            <a:ext cx="2876391" cy="367416"/>
          </a:xfrm>
          <a:prstGeom prst="roundRect">
            <a:avLst>
              <a:gd name="adj" fmla="val 12166"/>
            </a:avLst>
          </a:prstGeom>
          <a:solidFill>
            <a:srgbClr val="FFE5E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effectLst/>
                <a:uLnTx/>
                <a:uFillTx/>
                <a:latin typeface="Arial" panose="020B0604020202020204" pitchFamily="34" charset="0"/>
                <a:cs typeface="Arial" panose="020B0604020202020204" pitchFamily="34" charset="0"/>
              </a:rPr>
              <a:t>Centralised Flexibility Procurement </a:t>
            </a:r>
          </a:p>
        </p:txBody>
      </p:sp>
      <p:sp>
        <p:nvSpPr>
          <p:cNvPr id="3" name="Rectangle: Rounded Corners 2">
            <a:extLst>
              <a:ext uri="{FF2B5EF4-FFF2-40B4-BE49-F238E27FC236}">
                <a16:creationId xmlns:a16="http://schemas.microsoft.com/office/drawing/2014/main" id="{CF3A8F12-92EA-1882-2A8A-E2743A16C6F7}"/>
              </a:ext>
            </a:extLst>
          </p:cNvPr>
          <p:cNvSpPr/>
          <p:nvPr/>
        </p:nvSpPr>
        <p:spPr>
          <a:xfrm>
            <a:off x="578435" y="1697134"/>
            <a:ext cx="3415413" cy="476580"/>
          </a:xfrm>
          <a:prstGeom prst="roundRect">
            <a:avLst/>
          </a:prstGeom>
          <a:solidFill>
            <a:schemeClr val="bg1">
              <a:lumMod val="75000"/>
            </a:schemeClr>
          </a:solidFill>
          <a:ln w="12700" cap="flat" cmpd="sng" algn="ctr">
            <a:no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effectLst/>
                <a:uLnTx/>
                <a:uFillTx/>
                <a:latin typeface="Arial" panose="020B0604020202020204" pitchFamily="34" charset="0"/>
                <a:cs typeface="Arial" panose="020B0604020202020204" pitchFamily="34" charset="0"/>
              </a:rPr>
              <a:t>Literature Review Finding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effectLst/>
                <a:uLnTx/>
                <a:uFillTx/>
                <a:latin typeface="Arial" panose="020B0604020202020204" pitchFamily="34" charset="0"/>
                <a:cs typeface="Arial" panose="020B0604020202020204" pitchFamily="34" charset="0"/>
              </a:rPr>
              <a:t>Key Barriers to Uptake  </a:t>
            </a:r>
          </a:p>
        </p:txBody>
      </p:sp>
      <p:sp>
        <p:nvSpPr>
          <p:cNvPr id="19" name="Rectangle: Rounded Corners 18">
            <a:extLst>
              <a:ext uri="{FF2B5EF4-FFF2-40B4-BE49-F238E27FC236}">
                <a16:creationId xmlns:a16="http://schemas.microsoft.com/office/drawing/2014/main" id="{86292B9D-6A8D-F413-F25E-7EAFB75B0C0B}"/>
              </a:ext>
            </a:extLst>
          </p:cNvPr>
          <p:cNvSpPr/>
          <p:nvPr/>
        </p:nvSpPr>
        <p:spPr>
          <a:xfrm>
            <a:off x="578434" y="4930875"/>
            <a:ext cx="3415413" cy="830507"/>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Lack of Incentives</a:t>
            </a:r>
          </a:p>
        </p:txBody>
      </p:sp>
      <p:sp>
        <p:nvSpPr>
          <p:cNvPr id="20" name="Rectangle: Rounded Corners 19">
            <a:extLst>
              <a:ext uri="{FF2B5EF4-FFF2-40B4-BE49-F238E27FC236}">
                <a16:creationId xmlns:a16="http://schemas.microsoft.com/office/drawing/2014/main" id="{78DF4F0C-E7C5-8079-DA0E-63D596CABF23}"/>
              </a:ext>
            </a:extLst>
          </p:cNvPr>
          <p:cNvSpPr/>
          <p:nvPr/>
        </p:nvSpPr>
        <p:spPr>
          <a:xfrm>
            <a:off x="578434" y="2762288"/>
            <a:ext cx="3415413" cy="367416"/>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Limited commercial appeal</a:t>
            </a:r>
          </a:p>
        </p:txBody>
      </p:sp>
      <p:sp>
        <p:nvSpPr>
          <p:cNvPr id="22" name="Rectangle: Rounded Corners 21">
            <a:extLst>
              <a:ext uri="{FF2B5EF4-FFF2-40B4-BE49-F238E27FC236}">
                <a16:creationId xmlns:a16="http://schemas.microsoft.com/office/drawing/2014/main" id="{0C0E5352-2D09-BE45-26E2-7EBB01F46AFC}"/>
              </a:ext>
            </a:extLst>
          </p:cNvPr>
          <p:cNvSpPr/>
          <p:nvPr/>
        </p:nvSpPr>
        <p:spPr>
          <a:xfrm>
            <a:off x="578434" y="3974885"/>
            <a:ext cx="3415413" cy="367416"/>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No alignment with existing funding </a:t>
            </a:r>
          </a:p>
        </p:txBody>
      </p:sp>
      <p:sp>
        <p:nvSpPr>
          <p:cNvPr id="23" name="Rectangle: Rounded Corners 22">
            <a:extLst>
              <a:ext uri="{FF2B5EF4-FFF2-40B4-BE49-F238E27FC236}">
                <a16:creationId xmlns:a16="http://schemas.microsoft.com/office/drawing/2014/main" id="{3AE0B218-DA09-8A93-EE0A-446A52AF9ADC}"/>
              </a:ext>
            </a:extLst>
          </p:cNvPr>
          <p:cNvSpPr/>
          <p:nvPr/>
        </p:nvSpPr>
        <p:spPr>
          <a:xfrm>
            <a:off x="578434" y="4452880"/>
            <a:ext cx="3415413" cy="367416"/>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Neglected preventative network planning </a:t>
            </a:r>
          </a:p>
        </p:txBody>
      </p:sp>
      <p:sp>
        <p:nvSpPr>
          <p:cNvPr id="24" name="Rectangle: Rounded Corners 23">
            <a:extLst>
              <a:ext uri="{FF2B5EF4-FFF2-40B4-BE49-F238E27FC236}">
                <a16:creationId xmlns:a16="http://schemas.microsoft.com/office/drawing/2014/main" id="{6DB28A01-6907-2663-CE4D-A69D22C13A04}"/>
              </a:ext>
            </a:extLst>
          </p:cNvPr>
          <p:cNvSpPr/>
          <p:nvPr/>
        </p:nvSpPr>
        <p:spPr>
          <a:xfrm>
            <a:off x="578434" y="2284293"/>
            <a:ext cx="3415413" cy="367416"/>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Low awareness</a:t>
            </a:r>
          </a:p>
        </p:txBody>
      </p:sp>
      <p:sp>
        <p:nvSpPr>
          <p:cNvPr id="25" name="Rectangle: Rounded Corners 24">
            <a:extLst>
              <a:ext uri="{FF2B5EF4-FFF2-40B4-BE49-F238E27FC236}">
                <a16:creationId xmlns:a16="http://schemas.microsoft.com/office/drawing/2014/main" id="{4BF14F55-56B7-D45E-3E47-D8B2F26A427E}"/>
              </a:ext>
            </a:extLst>
          </p:cNvPr>
          <p:cNvSpPr/>
          <p:nvPr/>
        </p:nvSpPr>
        <p:spPr>
          <a:xfrm>
            <a:off x="578434" y="3240283"/>
            <a:ext cx="3415413" cy="624023"/>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algn="ctr">
              <a:defRPr/>
            </a:pPr>
            <a:r>
              <a:rPr lang="en-GB" sz="1200" kern="0" dirty="0">
                <a:latin typeface="Arial" panose="020B0604020202020204" pitchFamily="34" charset="0"/>
                <a:cs typeface="Arial" panose="020B0604020202020204" pitchFamily="34" charset="0"/>
              </a:rPr>
              <a:t>B</a:t>
            </a:r>
            <a:r>
              <a:rPr kumimoji="0" lang="en-GB" sz="1200" u="none" strike="noStrike" kern="0" cap="none" spc="0" normalizeH="0" baseline="0" noProof="0" dirty="0" err="1">
                <a:ln>
                  <a:noFill/>
                </a:ln>
                <a:effectLst/>
                <a:uLnTx/>
                <a:uFillTx/>
                <a:latin typeface="Arial" panose="020B0604020202020204" pitchFamily="34" charset="0"/>
                <a:cs typeface="Arial" panose="020B0604020202020204" pitchFamily="34" charset="0"/>
              </a:rPr>
              <a:t>aselining</a:t>
            </a:r>
            <a:r>
              <a:rPr kumimoji="0" lang="en-GB" sz="1200" u="none" strike="noStrike" kern="0" cap="none" spc="0" normalizeH="0" baseline="0" noProof="0" dirty="0">
                <a:ln>
                  <a:noFill/>
                </a:ln>
                <a:effectLst/>
                <a:uLnTx/>
                <a:uFillTx/>
                <a:latin typeface="Arial" panose="020B0604020202020204" pitchFamily="34" charset="0"/>
                <a:cs typeface="Arial" panose="020B0604020202020204" pitchFamily="34" charset="0"/>
              </a:rPr>
              <a:t> challenges </a:t>
            </a:r>
          </a:p>
        </p:txBody>
      </p:sp>
      <p:sp>
        <p:nvSpPr>
          <p:cNvPr id="26" name="Rectangle: Rounded Corners 25">
            <a:extLst>
              <a:ext uri="{FF2B5EF4-FFF2-40B4-BE49-F238E27FC236}">
                <a16:creationId xmlns:a16="http://schemas.microsoft.com/office/drawing/2014/main" id="{E07C617F-5E72-3F5F-DBF1-9B0ED66C38DB}"/>
              </a:ext>
            </a:extLst>
          </p:cNvPr>
          <p:cNvSpPr/>
          <p:nvPr/>
        </p:nvSpPr>
        <p:spPr>
          <a:xfrm>
            <a:off x="578434" y="5871964"/>
            <a:ext cx="3415413" cy="367416"/>
          </a:xfrm>
          <a:prstGeom prst="roundRect">
            <a:avLst>
              <a:gd name="adj" fmla="val 12166"/>
            </a:avLst>
          </a:prstGeom>
          <a:solidFill>
            <a:schemeClr val="bg1">
              <a:lumMod val="95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a:ln>
                  <a:noFill/>
                </a:ln>
                <a:effectLst/>
                <a:uLnTx/>
                <a:uFillTx/>
                <a:latin typeface="Arial" panose="020B0604020202020204" pitchFamily="34" charset="0"/>
                <a:cs typeface="Arial" panose="020B0604020202020204" pitchFamily="34" charset="0"/>
              </a:rPr>
              <a:t>Lack of whole systems planning</a:t>
            </a:r>
          </a:p>
        </p:txBody>
      </p:sp>
      <p:pic>
        <p:nvPicPr>
          <p:cNvPr id="52" name="Graphic 51" descr="Electric Tower with solid fill">
            <a:extLst>
              <a:ext uri="{FF2B5EF4-FFF2-40B4-BE49-F238E27FC236}">
                <a16:creationId xmlns:a16="http://schemas.microsoft.com/office/drawing/2014/main" id="{1219F78D-1D45-CD3F-90A4-071ED2A2D7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22645" y="2703711"/>
            <a:ext cx="558000" cy="558000"/>
          </a:xfrm>
          <a:prstGeom prst="rect">
            <a:avLst/>
          </a:prstGeom>
          <a:effectLst>
            <a:glow rad="139700">
              <a:schemeClr val="accent2">
                <a:satMod val="175000"/>
                <a:alpha val="40000"/>
              </a:schemeClr>
            </a:glow>
          </a:effectLst>
        </p:spPr>
      </p:pic>
      <p:grpSp>
        <p:nvGrpSpPr>
          <p:cNvPr id="53" name="Group 52">
            <a:extLst>
              <a:ext uri="{FF2B5EF4-FFF2-40B4-BE49-F238E27FC236}">
                <a16:creationId xmlns:a16="http://schemas.microsoft.com/office/drawing/2014/main" id="{4AC159F2-9FA8-2341-E4BF-B5E652C722BD}"/>
              </a:ext>
            </a:extLst>
          </p:cNvPr>
          <p:cNvGrpSpPr/>
          <p:nvPr/>
        </p:nvGrpSpPr>
        <p:grpSpPr>
          <a:xfrm>
            <a:off x="9875694" y="2860682"/>
            <a:ext cx="384417" cy="312733"/>
            <a:chOff x="7944812" y="1992424"/>
            <a:chExt cx="384417" cy="312733"/>
          </a:xfrm>
        </p:grpSpPr>
        <p:sp>
          <p:nvSpPr>
            <p:cNvPr id="54" name="Google Shape;2416;p68">
              <a:extLst>
                <a:ext uri="{FF2B5EF4-FFF2-40B4-BE49-F238E27FC236}">
                  <a16:creationId xmlns:a16="http://schemas.microsoft.com/office/drawing/2014/main" id="{8FA51F93-0318-6571-EC9F-7E0D17317912}"/>
                </a:ext>
              </a:extLst>
            </p:cNvPr>
            <p:cNvSpPr/>
            <p:nvPr/>
          </p:nvSpPr>
          <p:spPr>
            <a:xfrm>
              <a:off x="7944812" y="1992424"/>
              <a:ext cx="384416" cy="239375"/>
            </a:xfrm>
            <a:custGeom>
              <a:avLst/>
              <a:gdLst/>
              <a:ahLst/>
              <a:cxnLst/>
              <a:rect l="l" t="t" r="r" b="b"/>
              <a:pathLst>
                <a:path w="477" h="287" extrusionOk="0">
                  <a:moveTo>
                    <a:pt x="477" y="278"/>
                  </a:moveTo>
                  <a:cubicBezTo>
                    <a:pt x="477" y="283"/>
                    <a:pt x="473" y="287"/>
                    <a:pt x="468" y="287"/>
                  </a:cubicBezTo>
                  <a:cubicBezTo>
                    <a:pt x="9" y="287"/>
                    <a:pt x="9" y="287"/>
                    <a:pt x="9" y="287"/>
                  </a:cubicBezTo>
                  <a:cubicBezTo>
                    <a:pt x="4" y="287"/>
                    <a:pt x="0" y="283"/>
                    <a:pt x="0" y="278"/>
                  </a:cubicBezTo>
                  <a:cubicBezTo>
                    <a:pt x="0" y="8"/>
                    <a:pt x="0" y="8"/>
                    <a:pt x="0" y="8"/>
                  </a:cubicBezTo>
                  <a:cubicBezTo>
                    <a:pt x="0" y="3"/>
                    <a:pt x="4" y="0"/>
                    <a:pt x="9" y="0"/>
                  </a:cubicBezTo>
                  <a:cubicBezTo>
                    <a:pt x="468" y="0"/>
                    <a:pt x="468" y="0"/>
                    <a:pt x="468" y="0"/>
                  </a:cubicBezTo>
                  <a:cubicBezTo>
                    <a:pt x="473" y="0"/>
                    <a:pt x="477" y="3"/>
                    <a:pt x="477" y="8"/>
                  </a:cubicBezTo>
                  <a:lnTo>
                    <a:pt x="477" y="278"/>
                  </a:ln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55" name="Google Shape;2417;p68">
              <a:extLst>
                <a:ext uri="{FF2B5EF4-FFF2-40B4-BE49-F238E27FC236}">
                  <a16:creationId xmlns:a16="http://schemas.microsoft.com/office/drawing/2014/main" id="{4518F57F-16E5-E131-B009-2B3AA4D98DBB}"/>
                </a:ext>
              </a:extLst>
            </p:cNvPr>
            <p:cNvSpPr/>
            <p:nvPr/>
          </p:nvSpPr>
          <p:spPr>
            <a:xfrm>
              <a:off x="7944813" y="1992424"/>
              <a:ext cx="384416" cy="212349"/>
            </a:xfrm>
            <a:custGeom>
              <a:avLst/>
              <a:gdLst/>
              <a:ahLst/>
              <a:cxnLst/>
              <a:rect l="l" t="t" r="r" b="b"/>
              <a:pathLst>
                <a:path w="477" h="254" extrusionOk="0">
                  <a:moveTo>
                    <a:pt x="477" y="246"/>
                  </a:moveTo>
                  <a:cubicBezTo>
                    <a:pt x="477" y="250"/>
                    <a:pt x="473" y="254"/>
                    <a:pt x="468" y="254"/>
                  </a:cubicBezTo>
                  <a:cubicBezTo>
                    <a:pt x="9" y="254"/>
                    <a:pt x="9" y="254"/>
                    <a:pt x="9" y="254"/>
                  </a:cubicBezTo>
                  <a:cubicBezTo>
                    <a:pt x="4" y="254"/>
                    <a:pt x="0" y="250"/>
                    <a:pt x="0" y="246"/>
                  </a:cubicBezTo>
                  <a:cubicBezTo>
                    <a:pt x="0" y="8"/>
                    <a:pt x="0" y="8"/>
                    <a:pt x="0" y="8"/>
                  </a:cubicBezTo>
                  <a:cubicBezTo>
                    <a:pt x="0" y="3"/>
                    <a:pt x="4" y="0"/>
                    <a:pt x="9" y="0"/>
                  </a:cubicBezTo>
                  <a:cubicBezTo>
                    <a:pt x="468" y="0"/>
                    <a:pt x="468" y="0"/>
                    <a:pt x="468" y="0"/>
                  </a:cubicBezTo>
                  <a:cubicBezTo>
                    <a:pt x="473" y="0"/>
                    <a:pt x="477" y="3"/>
                    <a:pt x="477" y="8"/>
                  </a:cubicBezTo>
                  <a:lnTo>
                    <a:pt x="477" y="246"/>
                  </a:ln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56" name="Google Shape;2418;p68">
              <a:extLst>
                <a:ext uri="{FF2B5EF4-FFF2-40B4-BE49-F238E27FC236}">
                  <a16:creationId xmlns:a16="http://schemas.microsoft.com/office/drawing/2014/main" id="{1CB178E3-01A5-00CA-9333-66BBDD9B13BE}"/>
                </a:ext>
              </a:extLst>
            </p:cNvPr>
            <p:cNvSpPr/>
            <p:nvPr/>
          </p:nvSpPr>
          <p:spPr>
            <a:xfrm>
              <a:off x="8064242" y="2231800"/>
              <a:ext cx="145556" cy="73357"/>
            </a:xfrm>
            <a:custGeom>
              <a:avLst/>
              <a:gdLst/>
              <a:ahLst/>
              <a:cxnLst/>
              <a:rect l="l" t="t" r="r" b="b"/>
              <a:pathLst>
                <a:path w="181" h="88" extrusionOk="0">
                  <a:moveTo>
                    <a:pt x="163" y="69"/>
                  </a:moveTo>
                  <a:cubicBezTo>
                    <a:pt x="146" y="61"/>
                    <a:pt x="144" y="45"/>
                    <a:pt x="141" y="31"/>
                  </a:cubicBezTo>
                  <a:cubicBezTo>
                    <a:pt x="138" y="20"/>
                    <a:pt x="136" y="10"/>
                    <a:pt x="134" y="0"/>
                  </a:cubicBezTo>
                  <a:cubicBezTo>
                    <a:pt x="47" y="0"/>
                    <a:pt x="47" y="0"/>
                    <a:pt x="47" y="0"/>
                  </a:cubicBezTo>
                  <a:cubicBezTo>
                    <a:pt x="45" y="10"/>
                    <a:pt x="43" y="20"/>
                    <a:pt x="40" y="31"/>
                  </a:cubicBezTo>
                  <a:cubicBezTo>
                    <a:pt x="37" y="45"/>
                    <a:pt x="35" y="61"/>
                    <a:pt x="18" y="69"/>
                  </a:cubicBezTo>
                  <a:cubicBezTo>
                    <a:pt x="0" y="79"/>
                    <a:pt x="1" y="83"/>
                    <a:pt x="1" y="88"/>
                  </a:cubicBezTo>
                  <a:cubicBezTo>
                    <a:pt x="180" y="88"/>
                    <a:pt x="180" y="88"/>
                    <a:pt x="180" y="88"/>
                  </a:cubicBezTo>
                  <a:cubicBezTo>
                    <a:pt x="180" y="83"/>
                    <a:pt x="181" y="79"/>
                    <a:pt x="163" y="69"/>
                  </a:cubicBez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57" name="Google Shape;2421;p68">
              <a:extLst>
                <a:ext uri="{FF2B5EF4-FFF2-40B4-BE49-F238E27FC236}">
                  <a16:creationId xmlns:a16="http://schemas.microsoft.com/office/drawing/2014/main" id="{8E2E2D91-59B5-C1FB-92A5-33B1E2CFBBE3}"/>
                </a:ext>
              </a:extLst>
            </p:cNvPr>
            <p:cNvCxnSpPr/>
            <p:nvPr/>
          </p:nvCxnSpPr>
          <p:spPr>
            <a:xfrm>
              <a:off x="8075439" y="2042616"/>
              <a:ext cx="55897" cy="65700"/>
            </a:xfrm>
            <a:prstGeom prst="straightConnector1">
              <a:avLst/>
            </a:prstGeom>
            <a:noFill/>
            <a:ln w="12700" cap="rnd" cmpd="sng">
              <a:solidFill>
                <a:schemeClr val="dk1"/>
              </a:solidFill>
              <a:prstDash val="solid"/>
              <a:round/>
              <a:headEnd type="none" w="sm" len="sm"/>
              <a:tailEnd type="none" w="sm" len="sm"/>
            </a:ln>
          </p:spPr>
        </p:cxnSp>
        <p:cxnSp>
          <p:nvCxnSpPr>
            <p:cNvPr id="58" name="Google Shape;2422;p68">
              <a:extLst>
                <a:ext uri="{FF2B5EF4-FFF2-40B4-BE49-F238E27FC236}">
                  <a16:creationId xmlns:a16="http://schemas.microsoft.com/office/drawing/2014/main" id="{406D308D-DBA7-C126-5BAF-152065499243}"/>
                </a:ext>
              </a:extLst>
            </p:cNvPr>
            <p:cNvCxnSpPr/>
            <p:nvPr/>
          </p:nvCxnSpPr>
          <p:spPr>
            <a:xfrm flipH="1">
              <a:off x="8060431" y="2108251"/>
              <a:ext cx="15007" cy="27000"/>
            </a:xfrm>
            <a:prstGeom prst="straightConnector1">
              <a:avLst/>
            </a:prstGeom>
            <a:noFill/>
            <a:ln w="12700" cap="rnd" cmpd="sng">
              <a:solidFill>
                <a:schemeClr val="dk1"/>
              </a:solidFill>
              <a:prstDash val="solid"/>
              <a:round/>
              <a:headEnd type="none" w="sm" len="sm"/>
              <a:tailEnd type="none" w="sm" len="sm"/>
            </a:ln>
          </p:spPr>
        </p:cxnSp>
        <p:sp>
          <p:nvSpPr>
            <p:cNvPr id="59" name="Google Shape;2423;p68">
              <a:extLst>
                <a:ext uri="{FF2B5EF4-FFF2-40B4-BE49-F238E27FC236}">
                  <a16:creationId xmlns:a16="http://schemas.microsoft.com/office/drawing/2014/main" id="{361FDF2A-7CED-032C-B291-C04D7CAAAF29}"/>
                </a:ext>
              </a:extLst>
            </p:cNvPr>
            <p:cNvSpPr/>
            <p:nvPr/>
          </p:nvSpPr>
          <p:spPr>
            <a:xfrm>
              <a:off x="8224726" y="2038755"/>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2"/>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60" name="Google Shape;2424;p68">
              <a:extLst>
                <a:ext uri="{FF2B5EF4-FFF2-40B4-BE49-F238E27FC236}">
                  <a16:creationId xmlns:a16="http://schemas.microsoft.com/office/drawing/2014/main" id="{61D8108A-165D-E15B-368B-8B35B2E811BB}"/>
                </a:ext>
              </a:extLst>
            </p:cNvPr>
            <p:cNvSpPr/>
            <p:nvPr/>
          </p:nvSpPr>
          <p:spPr>
            <a:xfrm>
              <a:off x="8243388" y="2092808"/>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61" name="Google Shape;2425;p68">
              <a:extLst>
                <a:ext uri="{FF2B5EF4-FFF2-40B4-BE49-F238E27FC236}">
                  <a16:creationId xmlns:a16="http://schemas.microsoft.com/office/drawing/2014/main" id="{4BEF83B9-7C1F-D801-1034-3FA7BEC070E6}"/>
                </a:ext>
              </a:extLst>
            </p:cNvPr>
            <p:cNvSpPr/>
            <p:nvPr/>
          </p:nvSpPr>
          <p:spPr>
            <a:xfrm>
              <a:off x="8220995" y="2150721"/>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62" name="Google Shape;2426;p68">
              <a:extLst>
                <a:ext uri="{FF2B5EF4-FFF2-40B4-BE49-F238E27FC236}">
                  <a16:creationId xmlns:a16="http://schemas.microsoft.com/office/drawing/2014/main" id="{28C9DC0C-4BD8-9419-39CA-9F7ABBD6A31C}"/>
                </a:ext>
              </a:extLst>
            </p:cNvPr>
            <p:cNvSpPr/>
            <p:nvPr/>
          </p:nvSpPr>
          <p:spPr>
            <a:xfrm>
              <a:off x="8038116" y="2131416"/>
              <a:ext cx="29858" cy="30887"/>
            </a:xfrm>
            <a:custGeom>
              <a:avLst/>
              <a:gdLst/>
              <a:ahLst/>
              <a:cxnLst/>
              <a:rect l="l" t="t" r="r" b="b"/>
              <a:pathLst>
                <a:path w="37" h="37" extrusionOk="0">
                  <a:moveTo>
                    <a:pt x="35" y="22"/>
                  </a:moveTo>
                  <a:cubicBezTo>
                    <a:pt x="37" y="13"/>
                    <a:pt x="32"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63" name="Google Shape;2427;p68">
              <a:extLst>
                <a:ext uri="{FF2B5EF4-FFF2-40B4-BE49-F238E27FC236}">
                  <a16:creationId xmlns:a16="http://schemas.microsoft.com/office/drawing/2014/main" id="{3DC661D9-9176-DB08-2178-73ACB0A00D7A}"/>
                </a:ext>
              </a:extLst>
            </p:cNvPr>
            <p:cNvSpPr/>
            <p:nvPr/>
          </p:nvSpPr>
          <p:spPr>
            <a:xfrm>
              <a:off x="8000795" y="2092808"/>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64" name="Google Shape;2428;p68">
              <a:extLst>
                <a:ext uri="{FF2B5EF4-FFF2-40B4-BE49-F238E27FC236}">
                  <a16:creationId xmlns:a16="http://schemas.microsoft.com/office/drawing/2014/main" id="{343E2820-4132-5142-8CEF-35A735E4190C}"/>
                </a:ext>
              </a:extLst>
            </p:cNvPr>
            <p:cNvSpPr/>
            <p:nvPr/>
          </p:nvSpPr>
          <p:spPr>
            <a:xfrm>
              <a:off x="8004527" y="2034894"/>
              <a:ext cx="29858" cy="30887"/>
            </a:xfrm>
            <a:custGeom>
              <a:avLst/>
              <a:gdLst/>
              <a:ahLst/>
              <a:cxnLst/>
              <a:rect l="l" t="t" r="r" b="b"/>
              <a:pathLst>
                <a:path w="37" h="37" extrusionOk="0">
                  <a:moveTo>
                    <a:pt x="35" y="23"/>
                  </a:moveTo>
                  <a:cubicBezTo>
                    <a:pt x="37" y="13"/>
                    <a:pt x="31" y="4"/>
                    <a:pt x="22" y="2"/>
                  </a:cubicBezTo>
                  <a:cubicBezTo>
                    <a:pt x="13" y="0"/>
                    <a:pt x="4" y="6"/>
                    <a:pt x="2" y="15"/>
                  </a:cubicBezTo>
                  <a:cubicBezTo>
                    <a:pt x="0" y="24"/>
                    <a:pt x="6" y="33"/>
                    <a:pt x="15" y="35"/>
                  </a:cubicBezTo>
                  <a:cubicBezTo>
                    <a:pt x="24" y="37"/>
                    <a:pt x="33" y="32"/>
                    <a:pt x="35" y="23"/>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65" name="Google Shape;2429;p68">
              <a:extLst>
                <a:ext uri="{FF2B5EF4-FFF2-40B4-BE49-F238E27FC236}">
                  <a16:creationId xmlns:a16="http://schemas.microsoft.com/office/drawing/2014/main" id="{1E7EF808-4969-7D5F-185F-80274AC79D0A}"/>
                </a:ext>
              </a:extLst>
            </p:cNvPr>
            <p:cNvCxnSpPr/>
            <p:nvPr/>
          </p:nvCxnSpPr>
          <p:spPr>
            <a:xfrm rot="10800000">
              <a:off x="8105530" y="2135277"/>
              <a:ext cx="108000" cy="0"/>
            </a:xfrm>
            <a:prstGeom prst="straightConnector1">
              <a:avLst/>
            </a:prstGeom>
            <a:noFill/>
            <a:ln w="12700" cap="rnd" cmpd="sng">
              <a:solidFill>
                <a:schemeClr val="dk1"/>
              </a:solidFill>
              <a:prstDash val="solid"/>
              <a:round/>
              <a:headEnd type="none" w="sm" len="sm"/>
              <a:tailEnd type="none" w="sm" len="sm"/>
            </a:ln>
          </p:spPr>
        </p:cxnSp>
        <p:cxnSp>
          <p:nvCxnSpPr>
            <p:cNvPr id="66" name="Google Shape;2430;p68">
              <a:extLst>
                <a:ext uri="{FF2B5EF4-FFF2-40B4-BE49-F238E27FC236}">
                  <a16:creationId xmlns:a16="http://schemas.microsoft.com/office/drawing/2014/main" id="{876D19A1-4DB5-52C5-DC07-5F7590070423}"/>
                </a:ext>
              </a:extLst>
            </p:cNvPr>
            <p:cNvCxnSpPr/>
            <p:nvPr/>
          </p:nvCxnSpPr>
          <p:spPr>
            <a:xfrm>
              <a:off x="8176208" y="2081225"/>
              <a:ext cx="52200" cy="73350"/>
            </a:xfrm>
            <a:prstGeom prst="straightConnector1">
              <a:avLst/>
            </a:prstGeom>
            <a:noFill/>
            <a:ln w="12700" cap="rnd" cmpd="sng">
              <a:solidFill>
                <a:schemeClr val="dk1"/>
              </a:solidFill>
              <a:prstDash val="solid"/>
              <a:round/>
              <a:headEnd type="none" w="sm" len="sm"/>
              <a:tailEnd type="none" w="sm" len="sm"/>
            </a:ln>
          </p:spPr>
        </p:cxnSp>
        <p:cxnSp>
          <p:nvCxnSpPr>
            <p:cNvPr id="67" name="Google Shape;2431;p68">
              <a:extLst>
                <a:ext uri="{FF2B5EF4-FFF2-40B4-BE49-F238E27FC236}">
                  <a16:creationId xmlns:a16="http://schemas.microsoft.com/office/drawing/2014/main" id="{CD03541E-E602-B65A-DF42-A4FC3005EA89}"/>
                </a:ext>
              </a:extLst>
            </p:cNvPr>
            <p:cNvCxnSpPr/>
            <p:nvPr/>
          </p:nvCxnSpPr>
          <p:spPr>
            <a:xfrm>
              <a:off x="8224726" y="2135277"/>
              <a:ext cx="0" cy="0"/>
            </a:xfrm>
            <a:prstGeom prst="straightConnector1">
              <a:avLst/>
            </a:prstGeom>
            <a:noFill/>
            <a:ln w="12700" cap="rnd" cmpd="sng">
              <a:solidFill>
                <a:schemeClr val="dk1"/>
              </a:solidFill>
              <a:prstDash val="solid"/>
              <a:round/>
              <a:headEnd type="none" w="sm" len="sm"/>
              <a:tailEnd type="none" w="sm" len="sm"/>
            </a:ln>
          </p:spPr>
        </p:cxnSp>
        <p:cxnSp>
          <p:nvCxnSpPr>
            <p:cNvPr id="68" name="Google Shape;2432;p68">
              <a:extLst>
                <a:ext uri="{FF2B5EF4-FFF2-40B4-BE49-F238E27FC236}">
                  <a16:creationId xmlns:a16="http://schemas.microsoft.com/office/drawing/2014/main" id="{F29A752C-D958-BFBA-75E6-2ACB17ABD44F}"/>
                </a:ext>
              </a:extLst>
            </p:cNvPr>
            <p:cNvCxnSpPr/>
            <p:nvPr/>
          </p:nvCxnSpPr>
          <p:spPr>
            <a:xfrm>
              <a:off x="8109029" y="2081225"/>
              <a:ext cx="67207" cy="0"/>
            </a:xfrm>
            <a:prstGeom prst="straightConnector1">
              <a:avLst/>
            </a:prstGeom>
            <a:noFill/>
            <a:ln w="12700" cap="rnd" cmpd="sng">
              <a:solidFill>
                <a:schemeClr val="dk1"/>
              </a:solidFill>
              <a:prstDash val="solid"/>
              <a:round/>
              <a:headEnd type="none" w="sm" len="sm"/>
              <a:tailEnd type="none" w="sm" len="sm"/>
            </a:ln>
          </p:spPr>
        </p:cxnSp>
        <p:cxnSp>
          <p:nvCxnSpPr>
            <p:cNvPr id="69" name="Google Shape;2433;p68">
              <a:extLst>
                <a:ext uri="{FF2B5EF4-FFF2-40B4-BE49-F238E27FC236}">
                  <a16:creationId xmlns:a16="http://schemas.microsoft.com/office/drawing/2014/main" id="{FDDF302E-49B8-8FB0-3675-995D5290B85F}"/>
                </a:ext>
              </a:extLst>
            </p:cNvPr>
            <p:cNvCxnSpPr/>
            <p:nvPr/>
          </p:nvCxnSpPr>
          <p:spPr>
            <a:xfrm>
              <a:off x="8030653" y="2061921"/>
              <a:ext cx="18705" cy="19350"/>
            </a:xfrm>
            <a:prstGeom prst="straightConnector1">
              <a:avLst/>
            </a:prstGeom>
            <a:noFill/>
            <a:ln w="12700" cap="rnd" cmpd="sng">
              <a:solidFill>
                <a:schemeClr val="dk1"/>
              </a:solidFill>
              <a:prstDash val="solid"/>
              <a:round/>
              <a:headEnd type="none" w="sm" len="sm"/>
              <a:tailEnd type="none" w="sm" len="sm"/>
            </a:ln>
          </p:spPr>
        </p:cxnSp>
        <p:sp>
          <p:nvSpPr>
            <p:cNvPr id="70" name="Google Shape;2434;p68">
              <a:extLst>
                <a:ext uri="{FF2B5EF4-FFF2-40B4-BE49-F238E27FC236}">
                  <a16:creationId xmlns:a16="http://schemas.microsoft.com/office/drawing/2014/main" id="{C29A9D25-7714-A7D9-CE18-F9AEF07F4FC6}"/>
                </a:ext>
              </a:extLst>
            </p:cNvPr>
            <p:cNvSpPr/>
            <p:nvPr/>
          </p:nvSpPr>
          <p:spPr>
            <a:xfrm>
              <a:off x="8053046" y="2015590"/>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5" y="33"/>
                    <a:pt x="14"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71" name="Google Shape;2435;p68">
              <a:extLst>
                <a:ext uri="{FF2B5EF4-FFF2-40B4-BE49-F238E27FC236}">
                  <a16:creationId xmlns:a16="http://schemas.microsoft.com/office/drawing/2014/main" id="{50443CEF-AB8D-716F-6EAD-72DA2293E6A6}"/>
                </a:ext>
              </a:extLst>
            </p:cNvPr>
            <p:cNvCxnSpPr/>
            <p:nvPr/>
          </p:nvCxnSpPr>
          <p:spPr>
            <a:xfrm>
              <a:off x="8086636" y="2054199"/>
              <a:ext cx="138112" cy="0"/>
            </a:xfrm>
            <a:prstGeom prst="straightConnector1">
              <a:avLst/>
            </a:prstGeom>
            <a:noFill/>
            <a:ln w="12700" cap="rnd" cmpd="sng">
              <a:solidFill>
                <a:schemeClr val="dk1"/>
              </a:solidFill>
              <a:prstDash val="solid"/>
              <a:round/>
              <a:headEnd type="none" w="sm" len="sm"/>
              <a:tailEnd type="none" w="sm" len="sm"/>
            </a:ln>
          </p:spPr>
        </p:cxnSp>
        <p:sp>
          <p:nvSpPr>
            <p:cNvPr id="72" name="Google Shape;2436;p68">
              <a:extLst>
                <a:ext uri="{FF2B5EF4-FFF2-40B4-BE49-F238E27FC236}">
                  <a16:creationId xmlns:a16="http://schemas.microsoft.com/office/drawing/2014/main" id="{7737D3E2-9B8B-65E7-931F-80D02E3336F4}"/>
                </a:ext>
              </a:extLst>
            </p:cNvPr>
            <p:cNvSpPr/>
            <p:nvPr/>
          </p:nvSpPr>
          <p:spPr>
            <a:xfrm>
              <a:off x="8026920" y="2108251"/>
              <a:ext cx="216467" cy="0"/>
            </a:xfrm>
            <a:custGeom>
              <a:avLst/>
              <a:gdLst/>
              <a:ahLst/>
              <a:cxnLst/>
              <a:rect l="l" t="t" r="r" b="b"/>
              <a:pathLst>
                <a:path w="58" h="120000" extrusionOk="0">
                  <a:moveTo>
                    <a:pt x="58" y="0"/>
                  </a:moveTo>
                  <a:lnTo>
                    <a:pt x="31" y="0"/>
                  </a:lnTo>
                  <a:lnTo>
                    <a:pt x="0" y="0"/>
                  </a:lnTo>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73" name="Google Shape;2437;p68">
              <a:extLst>
                <a:ext uri="{FF2B5EF4-FFF2-40B4-BE49-F238E27FC236}">
                  <a16:creationId xmlns:a16="http://schemas.microsoft.com/office/drawing/2014/main" id="{6256AD33-23F9-458A-639A-B68B0EC1C572}"/>
                </a:ext>
              </a:extLst>
            </p:cNvPr>
            <p:cNvCxnSpPr/>
            <p:nvPr/>
          </p:nvCxnSpPr>
          <p:spPr>
            <a:xfrm>
              <a:off x="8049313" y="2081225"/>
              <a:ext cx="48502" cy="54000"/>
            </a:xfrm>
            <a:prstGeom prst="straightConnector1">
              <a:avLst/>
            </a:prstGeom>
            <a:noFill/>
            <a:ln w="12700" cap="rnd" cmpd="sng">
              <a:solidFill>
                <a:schemeClr val="dk1"/>
              </a:solidFill>
              <a:prstDash val="solid"/>
              <a:round/>
              <a:headEnd type="none" w="sm" len="sm"/>
              <a:tailEnd type="none" w="sm" len="sm"/>
            </a:ln>
          </p:spPr>
        </p:cxnSp>
      </p:grpSp>
      <p:cxnSp>
        <p:nvCxnSpPr>
          <p:cNvPr id="74" name="Straight Arrow Connector 73">
            <a:extLst>
              <a:ext uri="{FF2B5EF4-FFF2-40B4-BE49-F238E27FC236}">
                <a16:creationId xmlns:a16="http://schemas.microsoft.com/office/drawing/2014/main" id="{5186BF24-610C-7E9C-E652-D791F200E34E}"/>
              </a:ext>
            </a:extLst>
          </p:cNvPr>
          <p:cNvCxnSpPr>
            <a:cxnSpLocks/>
          </p:cNvCxnSpPr>
          <p:nvPr/>
        </p:nvCxnSpPr>
        <p:spPr>
          <a:xfrm flipV="1">
            <a:off x="9386459" y="2986158"/>
            <a:ext cx="430722" cy="6719"/>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81BAF802-6EA5-5115-0FB3-765EC3E481A5}"/>
              </a:ext>
            </a:extLst>
          </p:cNvPr>
          <p:cNvSpPr txBox="1"/>
          <p:nvPr/>
        </p:nvSpPr>
        <p:spPr>
          <a:xfrm>
            <a:off x="8931557" y="3193004"/>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DSO</a:t>
            </a:r>
          </a:p>
        </p:txBody>
      </p:sp>
      <p:pic>
        <p:nvPicPr>
          <p:cNvPr id="76" name="Graphic 75" descr="Add outline">
            <a:extLst>
              <a:ext uri="{FF2B5EF4-FFF2-40B4-BE49-F238E27FC236}">
                <a16:creationId xmlns:a16="http://schemas.microsoft.com/office/drawing/2014/main" id="{5F23C074-C380-F282-0C26-F707FB7C146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561526" y="3058191"/>
            <a:ext cx="106467" cy="106467"/>
          </a:xfrm>
          <a:prstGeom prst="rect">
            <a:avLst/>
          </a:prstGeom>
        </p:spPr>
      </p:pic>
      <p:pic>
        <p:nvPicPr>
          <p:cNvPr id="77" name="Graphic 76" descr="Bank with solid fill">
            <a:extLst>
              <a:ext uri="{FF2B5EF4-FFF2-40B4-BE49-F238E27FC236}">
                <a16:creationId xmlns:a16="http://schemas.microsoft.com/office/drawing/2014/main" id="{037D63D3-EE02-2E0A-AA3B-2E54E4C0BF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09519" y="3986349"/>
            <a:ext cx="413401" cy="413401"/>
          </a:xfrm>
          <a:prstGeom prst="rect">
            <a:avLst/>
          </a:prstGeom>
          <a:effectLst/>
        </p:spPr>
      </p:pic>
      <p:pic>
        <p:nvPicPr>
          <p:cNvPr id="78" name="Graphic 77" descr="Electric Tower with solid fill">
            <a:extLst>
              <a:ext uri="{FF2B5EF4-FFF2-40B4-BE49-F238E27FC236}">
                <a16:creationId xmlns:a16="http://schemas.microsoft.com/office/drawing/2014/main" id="{8202903E-3A6A-E7CF-A5CD-40940B71B5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0039" y="3918642"/>
            <a:ext cx="558000" cy="558000"/>
          </a:xfrm>
          <a:prstGeom prst="rect">
            <a:avLst/>
          </a:prstGeom>
          <a:effectLst>
            <a:glow rad="139700">
              <a:schemeClr val="accent2">
                <a:satMod val="175000"/>
                <a:alpha val="40000"/>
              </a:schemeClr>
            </a:glow>
          </a:effectLst>
        </p:spPr>
      </p:pic>
      <p:cxnSp>
        <p:nvCxnSpPr>
          <p:cNvPr id="79" name="Straight Arrow Connector 78">
            <a:extLst>
              <a:ext uri="{FF2B5EF4-FFF2-40B4-BE49-F238E27FC236}">
                <a16:creationId xmlns:a16="http://schemas.microsoft.com/office/drawing/2014/main" id="{4CBC25EA-B62D-B355-032C-00F1E10788D1}"/>
              </a:ext>
            </a:extLst>
          </p:cNvPr>
          <p:cNvCxnSpPr>
            <a:cxnSpLocks/>
          </p:cNvCxnSpPr>
          <p:nvPr/>
        </p:nvCxnSpPr>
        <p:spPr>
          <a:xfrm flipV="1">
            <a:off x="9380377" y="4192481"/>
            <a:ext cx="429142" cy="5161"/>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891D6BEC-E322-BC87-DAD5-D7487083B2B8}"/>
              </a:ext>
            </a:extLst>
          </p:cNvPr>
          <p:cNvSpPr txBox="1"/>
          <p:nvPr/>
        </p:nvSpPr>
        <p:spPr>
          <a:xfrm>
            <a:off x="8931557" y="4408746"/>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DSO</a:t>
            </a:r>
          </a:p>
        </p:txBody>
      </p:sp>
      <p:sp>
        <p:nvSpPr>
          <p:cNvPr id="81" name="TextBox 80">
            <a:extLst>
              <a:ext uri="{FF2B5EF4-FFF2-40B4-BE49-F238E27FC236}">
                <a16:creationId xmlns:a16="http://schemas.microsoft.com/office/drawing/2014/main" id="{40BCC881-6EA5-3065-884F-C9D9413E2D96}"/>
              </a:ext>
            </a:extLst>
          </p:cNvPr>
          <p:cNvSpPr txBox="1"/>
          <p:nvPr/>
        </p:nvSpPr>
        <p:spPr>
          <a:xfrm>
            <a:off x="9874228" y="3892558"/>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LA</a:t>
            </a:r>
          </a:p>
        </p:txBody>
      </p:sp>
      <p:pic>
        <p:nvPicPr>
          <p:cNvPr id="82" name="Graphic 81" descr="Add outline">
            <a:extLst>
              <a:ext uri="{FF2B5EF4-FFF2-40B4-BE49-F238E27FC236}">
                <a16:creationId xmlns:a16="http://schemas.microsoft.com/office/drawing/2014/main" id="{E7C4D2BE-BE9F-5A1F-D723-857386D021E1}"/>
              </a:ext>
            </a:extLst>
          </p:cNvPr>
          <p:cNvPicPr>
            <a:picLocks noChangeAspect="1"/>
          </p:cNvPicPr>
          <p:nvPr/>
        </p:nvPicPr>
        <p:blipFill>
          <a:blip r:embed="rId5">
            <a:extLst>
              <a:ext uri="{96DAC541-7B7A-43D3-8B79-37D633B846F1}">
                <asvg:svgBlip xmlns:asvg="http://schemas.microsoft.com/office/drawing/2016/SVG/main" r:embed="rId9"/>
              </a:ext>
            </a:extLst>
          </a:blip>
          <a:srcRect/>
          <a:stretch/>
        </p:blipFill>
        <p:spPr>
          <a:xfrm>
            <a:off x="9541714" y="4272307"/>
            <a:ext cx="106467" cy="106467"/>
          </a:xfrm>
          <a:prstGeom prst="rect">
            <a:avLst/>
          </a:prstGeom>
        </p:spPr>
      </p:pic>
      <p:grpSp>
        <p:nvGrpSpPr>
          <p:cNvPr id="83" name="Google Shape;1648;p66">
            <a:extLst>
              <a:ext uri="{FF2B5EF4-FFF2-40B4-BE49-F238E27FC236}">
                <a16:creationId xmlns:a16="http://schemas.microsoft.com/office/drawing/2014/main" id="{5609021F-69FC-A814-2B85-ED53B63CB84F}"/>
              </a:ext>
            </a:extLst>
          </p:cNvPr>
          <p:cNvGrpSpPr/>
          <p:nvPr/>
        </p:nvGrpSpPr>
        <p:grpSpPr>
          <a:xfrm>
            <a:off x="10108313" y="5779494"/>
            <a:ext cx="283905" cy="287919"/>
            <a:chOff x="6522468" y="2827131"/>
            <a:chExt cx="560287" cy="530116"/>
          </a:xfrm>
          <a:solidFill>
            <a:schemeClr val="tx1"/>
          </a:solidFill>
          <a:effectLst/>
        </p:grpSpPr>
        <p:sp>
          <p:nvSpPr>
            <p:cNvPr id="84" name="Google Shape;1649;p66">
              <a:extLst>
                <a:ext uri="{FF2B5EF4-FFF2-40B4-BE49-F238E27FC236}">
                  <a16:creationId xmlns:a16="http://schemas.microsoft.com/office/drawing/2014/main" id="{AD7060D0-EE89-34CC-BBB2-2B6538E90D1F}"/>
                </a:ext>
              </a:extLst>
            </p:cNvPr>
            <p:cNvSpPr/>
            <p:nvPr/>
          </p:nvSpPr>
          <p:spPr>
            <a:xfrm>
              <a:off x="6897428" y="2930568"/>
              <a:ext cx="150848" cy="129297"/>
            </a:xfrm>
            <a:custGeom>
              <a:avLst/>
              <a:gdLst/>
              <a:ahLst/>
              <a:cxnLst/>
              <a:rect l="l" t="t" r="r" b="b"/>
              <a:pathLst>
                <a:path w="162" h="141" extrusionOk="0">
                  <a:moveTo>
                    <a:pt x="82" y="47"/>
                  </a:moveTo>
                  <a:cubicBezTo>
                    <a:pt x="6" y="86"/>
                    <a:pt x="6" y="86"/>
                    <a:pt x="6" y="86"/>
                  </a:cubicBezTo>
                  <a:cubicBezTo>
                    <a:pt x="2" y="88"/>
                    <a:pt x="0" y="91"/>
                    <a:pt x="0" y="95"/>
                  </a:cubicBezTo>
                  <a:cubicBezTo>
                    <a:pt x="0" y="130"/>
                    <a:pt x="0" y="130"/>
                    <a:pt x="0" y="130"/>
                  </a:cubicBezTo>
                  <a:cubicBezTo>
                    <a:pt x="0" y="136"/>
                    <a:pt x="5" y="141"/>
                    <a:pt x="10" y="141"/>
                  </a:cubicBezTo>
                  <a:cubicBezTo>
                    <a:pt x="16" y="141"/>
                    <a:pt x="21" y="136"/>
                    <a:pt x="21" y="130"/>
                  </a:cubicBezTo>
                  <a:cubicBezTo>
                    <a:pt x="21" y="102"/>
                    <a:pt x="21" y="102"/>
                    <a:pt x="21" y="102"/>
                  </a:cubicBezTo>
                  <a:cubicBezTo>
                    <a:pt x="91" y="66"/>
                    <a:pt x="91" y="66"/>
                    <a:pt x="91" y="66"/>
                  </a:cubicBezTo>
                  <a:cubicBezTo>
                    <a:pt x="99" y="74"/>
                    <a:pt x="110" y="79"/>
                    <a:pt x="121" y="79"/>
                  </a:cubicBezTo>
                  <a:cubicBezTo>
                    <a:pt x="121" y="79"/>
                    <a:pt x="121" y="79"/>
                    <a:pt x="121" y="79"/>
                  </a:cubicBezTo>
                  <a:cubicBezTo>
                    <a:pt x="127" y="79"/>
                    <a:pt x="133" y="78"/>
                    <a:pt x="138" y="75"/>
                  </a:cubicBezTo>
                  <a:cubicBezTo>
                    <a:pt x="148" y="71"/>
                    <a:pt x="155" y="63"/>
                    <a:pt x="159" y="53"/>
                  </a:cubicBezTo>
                  <a:cubicBezTo>
                    <a:pt x="162" y="43"/>
                    <a:pt x="162" y="32"/>
                    <a:pt x="157" y="22"/>
                  </a:cubicBezTo>
                  <a:cubicBezTo>
                    <a:pt x="151" y="9"/>
                    <a:pt x="137" y="0"/>
                    <a:pt x="121" y="0"/>
                  </a:cubicBezTo>
                  <a:cubicBezTo>
                    <a:pt x="115" y="0"/>
                    <a:pt x="110" y="1"/>
                    <a:pt x="104" y="4"/>
                  </a:cubicBezTo>
                  <a:cubicBezTo>
                    <a:pt x="95" y="8"/>
                    <a:pt x="87" y="16"/>
                    <a:pt x="84" y="26"/>
                  </a:cubicBezTo>
                  <a:cubicBezTo>
                    <a:pt x="82" y="33"/>
                    <a:pt x="81" y="40"/>
                    <a:pt x="82" y="47"/>
                  </a:cubicBezTo>
                  <a:close/>
                  <a:moveTo>
                    <a:pt x="103" y="33"/>
                  </a:moveTo>
                  <a:cubicBezTo>
                    <a:pt x="105" y="28"/>
                    <a:pt x="109" y="25"/>
                    <a:pt x="113" y="22"/>
                  </a:cubicBezTo>
                  <a:cubicBezTo>
                    <a:pt x="116" y="21"/>
                    <a:pt x="119" y="21"/>
                    <a:pt x="121" y="21"/>
                  </a:cubicBezTo>
                  <a:cubicBezTo>
                    <a:pt x="129" y="21"/>
                    <a:pt x="135" y="25"/>
                    <a:pt x="139" y="31"/>
                  </a:cubicBezTo>
                  <a:cubicBezTo>
                    <a:pt x="141" y="36"/>
                    <a:pt x="141" y="41"/>
                    <a:pt x="139" y="46"/>
                  </a:cubicBezTo>
                  <a:cubicBezTo>
                    <a:pt x="138" y="51"/>
                    <a:pt x="134" y="55"/>
                    <a:pt x="130" y="57"/>
                  </a:cubicBezTo>
                  <a:cubicBezTo>
                    <a:pt x="127" y="58"/>
                    <a:pt x="124" y="59"/>
                    <a:pt x="121" y="59"/>
                  </a:cubicBezTo>
                  <a:cubicBezTo>
                    <a:pt x="114" y="59"/>
                    <a:pt x="107" y="54"/>
                    <a:pt x="104" y="48"/>
                  </a:cubicBezTo>
                  <a:cubicBezTo>
                    <a:pt x="102" y="43"/>
                    <a:pt x="102" y="38"/>
                    <a:pt x="103" y="33"/>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5" name="Google Shape;1650;p66">
              <a:extLst>
                <a:ext uri="{FF2B5EF4-FFF2-40B4-BE49-F238E27FC236}">
                  <a16:creationId xmlns:a16="http://schemas.microsoft.com/office/drawing/2014/main" id="{337480EF-CAFC-5FD2-DF22-F0A6E97A5AC9}"/>
                </a:ext>
              </a:extLst>
            </p:cNvPr>
            <p:cNvSpPr/>
            <p:nvPr/>
          </p:nvSpPr>
          <p:spPr>
            <a:xfrm>
              <a:off x="6850021" y="2840059"/>
              <a:ext cx="124988" cy="211186"/>
            </a:xfrm>
            <a:custGeom>
              <a:avLst/>
              <a:gdLst/>
              <a:ahLst/>
              <a:cxnLst/>
              <a:rect l="l" t="t" r="r" b="b"/>
              <a:pathLst>
                <a:path w="135" h="224" extrusionOk="0">
                  <a:moveTo>
                    <a:pt x="11" y="224"/>
                  </a:moveTo>
                  <a:cubicBezTo>
                    <a:pt x="16" y="224"/>
                    <a:pt x="21" y="220"/>
                    <a:pt x="21" y="214"/>
                  </a:cubicBezTo>
                  <a:cubicBezTo>
                    <a:pt x="21" y="164"/>
                    <a:pt x="21" y="164"/>
                    <a:pt x="21" y="164"/>
                  </a:cubicBezTo>
                  <a:cubicBezTo>
                    <a:pt x="100" y="124"/>
                    <a:pt x="100" y="124"/>
                    <a:pt x="100" y="124"/>
                  </a:cubicBezTo>
                  <a:cubicBezTo>
                    <a:pt x="103" y="123"/>
                    <a:pt x="105" y="119"/>
                    <a:pt x="105" y="115"/>
                  </a:cubicBezTo>
                  <a:cubicBezTo>
                    <a:pt x="105" y="78"/>
                    <a:pt x="105" y="78"/>
                    <a:pt x="105" y="78"/>
                  </a:cubicBezTo>
                  <a:cubicBezTo>
                    <a:pt x="122" y="73"/>
                    <a:pt x="135" y="58"/>
                    <a:pt x="135" y="40"/>
                  </a:cubicBezTo>
                  <a:cubicBezTo>
                    <a:pt x="135" y="18"/>
                    <a:pt x="117" y="0"/>
                    <a:pt x="95" y="0"/>
                  </a:cubicBezTo>
                  <a:cubicBezTo>
                    <a:pt x="73" y="0"/>
                    <a:pt x="55" y="18"/>
                    <a:pt x="55" y="40"/>
                  </a:cubicBezTo>
                  <a:cubicBezTo>
                    <a:pt x="55" y="58"/>
                    <a:pt x="68" y="73"/>
                    <a:pt x="85" y="78"/>
                  </a:cubicBezTo>
                  <a:cubicBezTo>
                    <a:pt x="85" y="109"/>
                    <a:pt x="85" y="109"/>
                    <a:pt x="85" y="109"/>
                  </a:cubicBezTo>
                  <a:cubicBezTo>
                    <a:pt x="6" y="149"/>
                    <a:pt x="6" y="149"/>
                    <a:pt x="6" y="149"/>
                  </a:cubicBezTo>
                  <a:cubicBezTo>
                    <a:pt x="2" y="151"/>
                    <a:pt x="0" y="154"/>
                    <a:pt x="0" y="158"/>
                  </a:cubicBezTo>
                  <a:cubicBezTo>
                    <a:pt x="0" y="214"/>
                    <a:pt x="0" y="214"/>
                    <a:pt x="0" y="214"/>
                  </a:cubicBezTo>
                  <a:cubicBezTo>
                    <a:pt x="0" y="220"/>
                    <a:pt x="5" y="224"/>
                    <a:pt x="11" y="224"/>
                  </a:cubicBezTo>
                  <a:close/>
                  <a:moveTo>
                    <a:pt x="76" y="40"/>
                  </a:moveTo>
                  <a:cubicBezTo>
                    <a:pt x="76" y="29"/>
                    <a:pt x="84" y="21"/>
                    <a:pt x="95" y="21"/>
                  </a:cubicBezTo>
                  <a:cubicBezTo>
                    <a:pt x="105" y="21"/>
                    <a:pt x="114" y="29"/>
                    <a:pt x="114" y="40"/>
                  </a:cubicBezTo>
                  <a:cubicBezTo>
                    <a:pt x="114" y="50"/>
                    <a:pt x="105" y="59"/>
                    <a:pt x="95" y="59"/>
                  </a:cubicBezTo>
                  <a:cubicBezTo>
                    <a:pt x="84" y="59"/>
                    <a:pt x="76" y="50"/>
                    <a:pt x="76" y="40"/>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6" name="Google Shape;1651;p66">
              <a:extLst>
                <a:ext uri="{FF2B5EF4-FFF2-40B4-BE49-F238E27FC236}">
                  <a16:creationId xmlns:a16="http://schemas.microsoft.com/office/drawing/2014/main" id="{BE56E1DD-971C-B703-3B55-C05925FABFC4}"/>
                </a:ext>
              </a:extLst>
            </p:cNvPr>
            <p:cNvSpPr/>
            <p:nvPr/>
          </p:nvSpPr>
          <p:spPr>
            <a:xfrm>
              <a:off x="6768131" y="2827131"/>
              <a:ext cx="77578" cy="215495"/>
            </a:xfrm>
            <a:custGeom>
              <a:avLst/>
              <a:gdLst/>
              <a:ahLst/>
              <a:cxnLst/>
              <a:rect l="l" t="t" r="r" b="b"/>
              <a:pathLst>
                <a:path w="79" h="231" extrusionOk="0">
                  <a:moveTo>
                    <a:pt x="29" y="77"/>
                  </a:moveTo>
                  <a:cubicBezTo>
                    <a:pt x="29" y="78"/>
                    <a:pt x="29" y="78"/>
                    <a:pt x="29" y="78"/>
                  </a:cubicBezTo>
                  <a:cubicBezTo>
                    <a:pt x="29" y="221"/>
                    <a:pt x="29" y="221"/>
                    <a:pt x="29" y="221"/>
                  </a:cubicBezTo>
                  <a:cubicBezTo>
                    <a:pt x="29" y="226"/>
                    <a:pt x="34" y="231"/>
                    <a:pt x="39" y="231"/>
                  </a:cubicBezTo>
                  <a:cubicBezTo>
                    <a:pt x="45" y="231"/>
                    <a:pt x="50" y="226"/>
                    <a:pt x="50" y="221"/>
                  </a:cubicBezTo>
                  <a:cubicBezTo>
                    <a:pt x="50" y="78"/>
                    <a:pt x="50" y="78"/>
                    <a:pt x="50" y="78"/>
                  </a:cubicBezTo>
                  <a:cubicBezTo>
                    <a:pt x="50" y="78"/>
                    <a:pt x="50" y="78"/>
                    <a:pt x="50" y="77"/>
                  </a:cubicBezTo>
                  <a:cubicBezTo>
                    <a:pt x="66" y="73"/>
                    <a:pt x="79" y="58"/>
                    <a:pt x="79" y="39"/>
                  </a:cubicBezTo>
                  <a:cubicBezTo>
                    <a:pt x="79" y="17"/>
                    <a:pt x="61" y="0"/>
                    <a:pt x="39" y="0"/>
                  </a:cubicBezTo>
                  <a:cubicBezTo>
                    <a:pt x="17" y="0"/>
                    <a:pt x="0" y="17"/>
                    <a:pt x="0" y="39"/>
                  </a:cubicBezTo>
                  <a:cubicBezTo>
                    <a:pt x="0" y="58"/>
                    <a:pt x="12" y="73"/>
                    <a:pt x="29" y="77"/>
                  </a:cubicBezTo>
                  <a:close/>
                  <a:moveTo>
                    <a:pt x="39" y="20"/>
                  </a:moveTo>
                  <a:cubicBezTo>
                    <a:pt x="50" y="20"/>
                    <a:pt x="58" y="29"/>
                    <a:pt x="58" y="39"/>
                  </a:cubicBezTo>
                  <a:cubicBezTo>
                    <a:pt x="58" y="50"/>
                    <a:pt x="50" y="58"/>
                    <a:pt x="39" y="58"/>
                  </a:cubicBezTo>
                  <a:cubicBezTo>
                    <a:pt x="29" y="58"/>
                    <a:pt x="20" y="50"/>
                    <a:pt x="20" y="39"/>
                  </a:cubicBezTo>
                  <a:cubicBezTo>
                    <a:pt x="20" y="29"/>
                    <a:pt x="29" y="20"/>
                    <a:pt x="39" y="20"/>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7" name="Google Shape;1652;p66">
              <a:extLst>
                <a:ext uri="{FF2B5EF4-FFF2-40B4-BE49-F238E27FC236}">
                  <a16:creationId xmlns:a16="http://schemas.microsoft.com/office/drawing/2014/main" id="{9745392A-6257-B1E3-BF4F-373C50F4FCFE}"/>
                </a:ext>
              </a:extLst>
            </p:cNvPr>
            <p:cNvSpPr/>
            <p:nvPr/>
          </p:nvSpPr>
          <p:spPr>
            <a:xfrm>
              <a:off x="6561256" y="2930568"/>
              <a:ext cx="155156" cy="129297"/>
            </a:xfrm>
            <a:custGeom>
              <a:avLst/>
              <a:gdLst/>
              <a:ahLst/>
              <a:cxnLst/>
              <a:rect l="l" t="t" r="r" b="b"/>
              <a:pathLst>
                <a:path w="167" h="141" extrusionOk="0">
                  <a:moveTo>
                    <a:pt x="28" y="75"/>
                  </a:moveTo>
                  <a:cubicBezTo>
                    <a:pt x="33" y="78"/>
                    <a:pt x="39" y="79"/>
                    <a:pt x="45" y="79"/>
                  </a:cubicBezTo>
                  <a:cubicBezTo>
                    <a:pt x="57" y="79"/>
                    <a:pt x="68" y="74"/>
                    <a:pt x="75" y="66"/>
                  </a:cubicBezTo>
                  <a:cubicBezTo>
                    <a:pt x="146" y="102"/>
                    <a:pt x="146" y="102"/>
                    <a:pt x="146" y="102"/>
                  </a:cubicBezTo>
                  <a:cubicBezTo>
                    <a:pt x="146" y="130"/>
                    <a:pt x="146" y="130"/>
                    <a:pt x="146" y="130"/>
                  </a:cubicBezTo>
                  <a:cubicBezTo>
                    <a:pt x="146" y="136"/>
                    <a:pt x="150" y="141"/>
                    <a:pt x="156" y="141"/>
                  </a:cubicBezTo>
                  <a:cubicBezTo>
                    <a:pt x="162" y="141"/>
                    <a:pt x="167" y="136"/>
                    <a:pt x="167" y="130"/>
                  </a:cubicBezTo>
                  <a:cubicBezTo>
                    <a:pt x="167" y="95"/>
                    <a:pt x="167" y="95"/>
                    <a:pt x="167" y="95"/>
                  </a:cubicBezTo>
                  <a:cubicBezTo>
                    <a:pt x="167" y="91"/>
                    <a:pt x="164" y="88"/>
                    <a:pt x="161" y="86"/>
                  </a:cubicBezTo>
                  <a:cubicBezTo>
                    <a:pt x="84" y="47"/>
                    <a:pt x="84" y="47"/>
                    <a:pt x="84" y="47"/>
                  </a:cubicBezTo>
                  <a:cubicBezTo>
                    <a:pt x="85" y="40"/>
                    <a:pt x="85" y="33"/>
                    <a:pt x="83" y="26"/>
                  </a:cubicBezTo>
                  <a:cubicBezTo>
                    <a:pt x="79" y="16"/>
                    <a:pt x="72" y="8"/>
                    <a:pt x="62" y="4"/>
                  </a:cubicBezTo>
                  <a:cubicBezTo>
                    <a:pt x="57" y="1"/>
                    <a:pt x="51" y="0"/>
                    <a:pt x="45" y="0"/>
                  </a:cubicBezTo>
                  <a:cubicBezTo>
                    <a:pt x="30" y="0"/>
                    <a:pt x="16" y="9"/>
                    <a:pt x="9" y="22"/>
                  </a:cubicBezTo>
                  <a:cubicBezTo>
                    <a:pt x="0" y="42"/>
                    <a:pt x="8" y="66"/>
                    <a:pt x="28" y="75"/>
                  </a:cubicBezTo>
                  <a:close/>
                  <a:moveTo>
                    <a:pt x="28" y="31"/>
                  </a:moveTo>
                  <a:cubicBezTo>
                    <a:pt x="31" y="25"/>
                    <a:pt x="38" y="21"/>
                    <a:pt x="45" y="21"/>
                  </a:cubicBezTo>
                  <a:cubicBezTo>
                    <a:pt x="48" y="21"/>
                    <a:pt x="51" y="21"/>
                    <a:pt x="53" y="22"/>
                  </a:cubicBezTo>
                  <a:cubicBezTo>
                    <a:pt x="58" y="25"/>
                    <a:pt x="61" y="28"/>
                    <a:pt x="63" y="33"/>
                  </a:cubicBezTo>
                  <a:cubicBezTo>
                    <a:pt x="65" y="38"/>
                    <a:pt x="65" y="43"/>
                    <a:pt x="62" y="48"/>
                  </a:cubicBezTo>
                  <a:cubicBezTo>
                    <a:pt x="58" y="57"/>
                    <a:pt x="46" y="61"/>
                    <a:pt x="37" y="57"/>
                  </a:cubicBezTo>
                  <a:cubicBezTo>
                    <a:pt x="28" y="52"/>
                    <a:pt x="23" y="41"/>
                    <a:pt x="28" y="31"/>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8" name="Google Shape;1653;p66">
              <a:extLst>
                <a:ext uri="{FF2B5EF4-FFF2-40B4-BE49-F238E27FC236}">
                  <a16:creationId xmlns:a16="http://schemas.microsoft.com/office/drawing/2014/main" id="{0424F210-BAB7-DC00-837C-7F752DCFE255}"/>
                </a:ext>
              </a:extLst>
            </p:cNvPr>
            <p:cNvSpPr/>
            <p:nvPr/>
          </p:nvSpPr>
          <p:spPr>
            <a:xfrm>
              <a:off x="6638834" y="2840059"/>
              <a:ext cx="124988" cy="211186"/>
            </a:xfrm>
            <a:custGeom>
              <a:avLst/>
              <a:gdLst/>
              <a:ahLst/>
              <a:cxnLst/>
              <a:rect l="l" t="t" r="r" b="b"/>
              <a:pathLst>
                <a:path w="134" h="224" extrusionOk="0">
                  <a:moveTo>
                    <a:pt x="29" y="78"/>
                  </a:moveTo>
                  <a:cubicBezTo>
                    <a:pt x="29" y="115"/>
                    <a:pt x="29" y="115"/>
                    <a:pt x="29" y="115"/>
                  </a:cubicBezTo>
                  <a:cubicBezTo>
                    <a:pt x="29" y="119"/>
                    <a:pt x="31" y="123"/>
                    <a:pt x="35" y="124"/>
                  </a:cubicBezTo>
                  <a:cubicBezTo>
                    <a:pt x="114" y="164"/>
                    <a:pt x="114" y="164"/>
                    <a:pt x="114" y="164"/>
                  </a:cubicBezTo>
                  <a:cubicBezTo>
                    <a:pt x="114" y="214"/>
                    <a:pt x="114" y="214"/>
                    <a:pt x="114" y="214"/>
                  </a:cubicBezTo>
                  <a:cubicBezTo>
                    <a:pt x="114" y="220"/>
                    <a:pt x="118" y="224"/>
                    <a:pt x="124" y="224"/>
                  </a:cubicBezTo>
                  <a:cubicBezTo>
                    <a:pt x="130" y="224"/>
                    <a:pt x="134" y="220"/>
                    <a:pt x="134" y="214"/>
                  </a:cubicBezTo>
                  <a:cubicBezTo>
                    <a:pt x="134" y="158"/>
                    <a:pt x="134" y="158"/>
                    <a:pt x="134" y="158"/>
                  </a:cubicBezTo>
                  <a:cubicBezTo>
                    <a:pt x="134" y="154"/>
                    <a:pt x="132" y="151"/>
                    <a:pt x="129" y="149"/>
                  </a:cubicBezTo>
                  <a:cubicBezTo>
                    <a:pt x="50" y="109"/>
                    <a:pt x="50" y="109"/>
                    <a:pt x="50" y="109"/>
                  </a:cubicBezTo>
                  <a:cubicBezTo>
                    <a:pt x="50" y="78"/>
                    <a:pt x="50" y="78"/>
                    <a:pt x="50" y="78"/>
                  </a:cubicBezTo>
                  <a:cubicBezTo>
                    <a:pt x="67" y="73"/>
                    <a:pt x="79" y="58"/>
                    <a:pt x="79" y="40"/>
                  </a:cubicBezTo>
                  <a:cubicBezTo>
                    <a:pt x="79" y="18"/>
                    <a:pt x="62" y="0"/>
                    <a:pt x="40" y="0"/>
                  </a:cubicBezTo>
                  <a:cubicBezTo>
                    <a:pt x="18" y="0"/>
                    <a:pt x="0" y="18"/>
                    <a:pt x="0" y="40"/>
                  </a:cubicBezTo>
                  <a:cubicBezTo>
                    <a:pt x="0" y="58"/>
                    <a:pt x="12" y="73"/>
                    <a:pt x="29" y="78"/>
                  </a:cubicBezTo>
                  <a:close/>
                  <a:moveTo>
                    <a:pt x="40" y="21"/>
                  </a:moveTo>
                  <a:cubicBezTo>
                    <a:pt x="50" y="21"/>
                    <a:pt x="59" y="29"/>
                    <a:pt x="59" y="40"/>
                  </a:cubicBezTo>
                  <a:cubicBezTo>
                    <a:pt x="59" y="50"/>
                    <a:pt x="50" y="59"/>
                    <a:pt x="40" y="59"/>
                  </a:cubicBezTo>
                  <a:cubicBezTo>
                    <a:pt x="29" y="59"/>
                    <a:pt x="21" y="50"/>
                    <a:pt x="21" y="40"/>
                  </a:cubicBezTo>
                  <a:cubicBezTo>
                    <a:pt x="21" y="29"/>
                    <a:pt x="29" y="21"/>
                    <a:pt x="40" y="21"/>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9" name="Google Shape;1654;p66">
              <a:extLst>
                <a:ext uri="{FF2B5EF4-FFF2-40B4-BE49-F238E27FC236}">
                  <a16:creationId xmlns:a16="http://schemas.microsoft.com/office/drawing/2014/main" id="{F84B46D1-6628-2143-7BDC-8D0213E71BAB}"/>
                </a:ext>
              </a:extLst>
            </p:cNvPr>
            <p:cNvSpPr/>
            <p:nvPr/>
          </p:nvSpPr>
          <p:spPr>
            <a:xfrm>
              <a:off x="6522468" y="3055554"/>
              <a:ext cx="560287" cy="301693"/>
            </a:xfrm>
            <a:custGeom>
              <a:avLst/>
              <a:gdLst/>
              <a:ahLst/>
              <a:cxnLst/>
              <a:rect l="l" t="t" r="r" b="b"/>
              <a:pathLst>
                <a:path w="602" h="320" extrusionOk="0">
                  <a:moveTo>
                    <a:pt x="474" y="108"/>
                  </a:moveTo>
                  <a:cubicBezTo>
                    <a:pt x="441" y="57"/>
                    <a:pt x="404" y="0"/>
                    <a:pt x="301" y="0"/>
                  </a:cubicBezTo>
                  <a:cubicBezTo>
                    <a:pt x="211" y="0"/>
                    <a:pt x="174" y="48"/>
                    <a:pt x="131" y="103"/>
                  </a:cubicBezTo>
                  <a:cubicBezTo>
                    <a:pt x="130" y="105"/>
                    <a:pt x="130" y="105"/>
                    <a:pt x="130" y="105"/>
                  </a:cubicBezTo>
                  <a:cubicBezTo>
                    <a:pt x="57" y="109"/>
                    <a:pt x="0" y="170"/>
                    <a:pt x="0" y="243"/>
                  </a:cubicBezTo>
                  <a:cubicBezTo>
                    <a:pt x="0" y="258"/>
                    <a:pt x="0" y="258"/>
                    <a:pt x="0" y="258"/>
                  </a:cubicBezTo>
                  <a:cubicBezTo>
                    <a:pt x="0" y="263"/>
                    <a:pt x="5" y="268"/>
                    <a:pt x="10" y="268"/>
                  </a:cubicBezTo>
                  <a:cubicBezTo>
                    <a:pt x="101" y="268"/>
                    <a:pt x="101" y="268"/>
                    <a:pt x="101" y="268"/>
                  </a:cubicBezTo>
                  <a:cubicBezTo>
                    <a:pt x="108" y="298"/>
                    <a:pt x="135" y="320"/>
                    <a:pt x="166" y="320"/>
                  </a:cubicBezTo>
                  <a:cubicBezTo>
                    <a:pt x="198" y="320"/>
                    <a:pt x="224" y="298"/>
                    <a:pt x="231" y="268"/>
                  </a:cubicBezTo>
                  <a:cubicBezTo>
                    <a:pt x="390" y="268"/>
                    <a:pt x="390" y="268"/>
                    <a:pt x="390" y="268"/>
                  </a:cubicBezTo>
                  <a:cubicBezTo>
                    <a:pt x="397" y="298"/>
                    <a:pt x="423" y="320"/>
                    <a:pt x="455" y="320"/>
                  </a:cubicBezTo>
                  <a:cubicBezTo>
                    <a:pt x="486" y="320"/>
                    <a:pt x="513" y="298"/>
                    <a:pt x="520" y="268"/>
                  </a:cubicBezTo>
                  <a:cubicBezTo>
                    <a:pt x="592" y="268"/>
                    <a:pt x="592" y="268"/>
                    <a:pt x="592" y="268"/>
                  </a:cubicBezTo>
                  <a:cubicBezTo>
                    <a:pt x="598" y="268"/>
                    <a:pt x="602" y="263"/>
                    <a:pt x="602" y="258"/>
                  </a:cubicBezTo>
                  <a:cubicBezTo>
                    <a:pt x="602" y="243"/>
                    <a:pt x="602" y="243"/>
                    <a:pt x="602" y="243"/>
                  </a:cubicBezTo>
                  <a:cubicBezTo>
                    <a:pt x="602" y="176"/>
                    <a:pt x="539" y="122"/>
                    <a:pt x="474" y="108"/>
                  </a:cubicBezTo>
                  <a:close/>
                  <a:moveTo>
                    <a:pt x="447" y="105"/>
                  </a:moveTo>
                  <a:cubicBezTo>
                    <a:pt x="445" y="105"/>
                    <a:pt x="443" y="105"/>
                    <a:pt x="442" y="105"/>
                  </a:cubicBezTo>
                  <a:cubicBezTo>
                    <a:pt x="321" y="105"/>
                    <a:pt x="321" y="105"/>
                    <a:pt x="321" y="105"/>
                  </a:cubicBezTo>
                  <a:cubicBezTo>
                    <a:pt x="321" y="21"/>
                    <a:pt x="321" y="21"/>
                    <a:pt x="321" y="21"/>
                  </a:cubicBezTo>
                  <a:cubicBezTo>
                    <a:pt x="385" y="27"/>
                    <a:pt x="416" y="59"/>
                    <a:pt x="447" y="105"/>
                  </a:cubicBezTo>
                  <a:close/>
                  <a:moveTo>
                    <a:pt x="300" y="20"/>
                  </a:moveTo>
                  <a:cubicBezTo>
                    <a:pt x="300" y="105"/>
                    <a:pt x="300" y="105"/>
                    <a:pt x="300" y="105"/>
                  </a:cubicBezTo>
                  <a:cubicBezTo>
                    <a:pt x="156" y="105"/>
                    <a:pt x="156" y="105"/>
                    <a:pt x="156" y="105"/>
                  </a:cubicBezTo>
                  <a:cubicBezTo>
                    <a:pt x="195" y="55"/>
                    <a:pt x="226" y="21"/>
                    <a:pt x="300" y="20"/>
                  </a:cubicBezTo>
                  <a:close/>
                  <a:moveTo>
                    <a:pt x="166" y="299"/>
                  </a:moveTo>
                  <a:cubicBezTo>
                    <a:pt x="141" y="299"/>
                    <a:pt x="120" y="279"/>
                    <a:pt x="120" y="253"/>
                  </a:cubicBezTo>
                  <a:cubicBezTo>
                    <a:pt x="120" y="228"/>
                    <a:pt x="141" y="207"/>
                    <a:pt x="166" y="207"/>
                  </a:cubicBezTo>
                  <a:cubicBezTo>
                    <a:pt x="191" y="207"/>
                    <a:pt x="212" y="228"/>
                    <a:pt x="212" y="253"/>
                  </a:cubicBezTo>
                  <a:cubicBezTo>
                    <a:pt x="212" y="279"/>
                    <a:pt x="191" y="299"/>
                    <a:pt x="166" y="299"/>
                  </a:cubicBezTo>
                  <a:close/>
                  <a:moveTo>
                    <a:pt x="455" y="299"/>
                  </a:moveTo>
                  <a:cubicBezTo>
                    <a:pt x="429" y="299"/>
                    <a:pt x="409" y="279"/>
                    <a:pt x="409" y="253"/>
                  </a:cubicBezTo>
                  <a:cubicBezTo>
                    <a:pt x="409" y="228"/>
                    <a:pt x="429" y="207"/>
                    <a:pt x="455" y="207"/>
                  </a:cubicBezTo>
                  <a:cubicBezTo>
                    <a:pt x="480" y="207"/>
                    <a:pt x="501" y="228"/>
                    <a:pt x="501" y="253"/>
                  </a:cubicBezTo>
                  <a:cubicBezTo>
                    <a:pt x="501" y="279"/>
                    <a:pt x="480" y="299"/>
                    <a:pt x="455" y="299"/>
                  </a:cubicBezTo>
                  <a:close/>
                  <a:moveTo>
                    <a:pt x="582" y="247"/>
                  </a:moveTo>
                  <a:cubicBezTo>
                    <a:pt x="521" y="247"/>
                    <a:pt x="521" y="247"/>
                    <a:pt x="521" y="247"/>
                  </a:cubicBezTo>
                  <a:cubicBezTo>
                    <a:pt x="518" y="213"/>
                    <a:pt x="489" y="187"/>
                    <a:pt x="455" y="187"/>
                  </a:cubicBezTo>
                  <a:cubicBezTo>
                    <a:pt x="420" y="187"/>
                    <a:pt x="392" y="213"/>
                    <a:pt x="389" y="247"/>
                  </a:cubicBezTo>
                  <a:cubicBezTo>
                    <a:pt x="232" y="247"/>
                    <a:pt x="232" y="247"/>
                    <a:pt x="232" y="247"/>
                  </a:cubicBezTo>
                  <a:cubicBezTo>
                    <a:pt x="229" y="213"/>
                    <a:pt x="201" y="187"/>
                    <a:pt x="166" y="187"/>
                  </a:cubicBezTo>
                  <a:cubicBezTo>
                    <a:pt x="132" y="187"/>
                    <a:pt x="103" y="213"/>
                    <a:pt x="100" y="247"/>
                  </a:cubicBezTo>
                  <a:cubicBezTo>
                    <a:pt x="21" y="247"/>
                    <a:pt x="21" y="247"/>
                    <a:pt x="21" y="247"/>
                  </a:cubicBezTo>
                  <a:cubicBezTo>
                    <a:pt x="21" y="243"/>
                    <a:pt x="21" y="243"/>
                    <a:pt x="21" y="243"/>
                  </a:cubicBezTo>
                  <a:cubicBezTo>
                    <a:pt x="21" y="178"/>
                    <a:pt x="73" y="125"/>
                    <a:pt x="138" y="125"/>
                  </a:cubicBezTo>
                  <a:cubicBezTo>
                    <a:pt x="442" y="125"/>
                    <a:pt x="442" y="125"/>
                    <a:pt x="442" y="125"/>
                  </a:cubicBezTo>
                  <a:cubicBezTo>
                    <a:pt x="505" y="125"/>
                    <a:pt x="582" y="178"/>
                    <a:pt x="582" y="243"/>
                  </a:cubicBezTo>
                  <a:lnTo>
                    <a:pt x="582" y="247"/>
                  </a:ln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grpSp>
      <p:pic>
        <p:nvPicPr>
          <p:cNvPr id="90" name="Graphic 89" descr="City with solid fill">
            <a:extLst>
              <a:ext uri="{FF2B5EF4-FFF2-40B4-BE49-F238E27FC236}">
                <a16:creationId xmlns:a16="http://schemas.microsoft.com/office/drawing/2014/main" id="{4133B072-2267-60AA-0963-670BC2A2FF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22700" y="5739111"/>
            <a:ext cx="356817" cy="356817"/>
          </a:xfrm>
          <a:prstGeom prst="rect">
            <a:avLst/>
          </a:prstGeom>
        </p:spPr>
      </p:pic>
      <p:pic>
        <p:nvPicPr>
          <p:cNvPr id="91" name="Graphic 90" descr="Electric Tower with solid fill">
            <a:extLst>
              <a:ext uri="{FF2B5EF4-FFF2-40B4-BE49-F238E27FC236}">
                <a16:creationId xmlns:a16="http://schemas.microsoft.com/office/drawing/2014/main" id="{FFFE9B3A-C24E-389A-D0F9-A7F0DEF8A0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75683" y="5365372"/>
            <a:ext cx="558000" cy="558000"/>
          </a:xfrm>
          <a:prstGeom prst="rect">
            <a:avLst/>
          </a:prstGeom>
          <a:effectLst>
            <a:glow rad="139700">
              <a:schemeClr val="accent2">
                <a:satMod val="175000"/>
                <a:alpha val="40000"/>
              </a:schemeClr>
            </a:glow>
          </a:effectLst>
        </p:spPr>
      </p:pic>
      <p:cxnSp>
        <p:nvCxnSpPr>
          <p:cNvPr id="92" name="Straight Arrow Connector 91">
            <a:extLst>
              <a:ext uri="{FF2B5EF4-FFF2-40B4-BE49-F238E27FC236}">
                <a16:creationId xmlns:a16="http://schemas.microsoft.com/office/drawing/2014/main" id="{2F5E8D87-D665-C284-7AAD-FE590964134A}"/>
              </a:ext>
            </a:extLst>
          </p:cNvPr>
          <p:cNvCxnSpPr>
            <a:cxnSpLocks/>
          </p:cNvCxnSpPr>
          <p:nvPr/>
        </p:nvCxnSpPr>
        <p:spPr>
          <a:xfrm flipV="1">
            <a:off x="9364963" y="5745012"/>
            <a:ext cx="436536" cy="7155"/>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3" name="Graphic 92" descr="Bank with solid fill">
            <a:extLst>
              <a:ext uri="{FF2B5EF4-FFF2-40B4-BE49-F238E27FC236}">
                <a16:creationId xmlns:a16="http://schemas.microsoft.com/office/drawing/2014/main" id="{EDDDBE81-05A6-CB10-EBFF-F63092FAA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62989" y="5366769"/>
            <a:ext cx="413401" cy="413401"/>
          </a:xfrm>
          <a:prstGeom prst="rect">
            <a:avLst/>
          </a:prstGeom>
          <a:effectLst/>
        </p:spPr>
      </p:pic>
      <p:sp>
        <p:nvSpPr>
          <p:cNvPr id="94" name="TextBox 93">
            <a:extLst>
              <a:ext uri="{FF2B5EF4-FFF2-40B4-BE49-F238E27FC236}">
                <a16:creationId xmlns:a16="http://schemas.microsoft.com/office/drawing/2014/main" id="{BCCE608B-9E89-37B0-A857-F98AA2CC0C95}"/>
              </a:ext>
            </a:extLst>
          </p:cNvPr>
          <p:cNvSpPr txBox="1"/>
          <p:nvPr/>
        </p:nvSpPr>
        <p:spPr>
          <a:xfrm>
            <a:off x="8989271" y="5882359"/>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DSO</a:t>
            </a:r>
          </a:p>
        </p:txBody>
      </p:sp>
      <p:sp>
        <p:nvSpPr>
          <p:cNvPr id="95" name="TextBox 94">
            <a:extLst>
              <a:ext uri="{FF2B5EF4-FFF2-40B4-BE49-F238E27FC236}">
                <a16:creationId xmlns:a16="http://schemas.microsoft.com/office/drawing/2014/main" id="{519FFB90-320F-3B91-FEB7-E09CF2056765}"/>
              </a:ext>
            </a:extLst>
          </p:cNvPr>
          <p:cNvSpPr txBox="1"/>
          <p:nvPr/>
        </p:nvSpPr>
        <p:spPr>
          <a:xfrm>
            <a:off x="9927255" y="5278343"/>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LA</a:t>
            </a:r>
          </a:p>
        </p:txBody>
      </p:sp>
      <p:sp>
        <p:nvSpPr>
          <p:cNvPr id="96" name="TextBox 95">
            <a:extLst>
              <a:ext uri="{FF2B5EF4-FFF2-40B4-BE49-F238E27FC236}">
                <a16:creationId xmlns:a16="http://schemas.microsoft.com/office/drawing/2014/main" id="{C0C7D9C3-EF0B-D02F-D018-1F8CA18F3EE1}"/>
              </a:ext>
            </a:extLst>
          </p:cNvPr>
          <p:cNvSpPr txBox="1"/>
          <p:nvPr/>
        </p:nvSpPr>
        <p:spPr>
          <a:xfrm>
            <a:off x="9735142" y="6037265"/>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SHP</a:t>
            </a:r>
          </a:p>
        </p:txBody>
      </p:sp>
      <p:sp>
        <p:nvSpPr>
          <p:cNvPr id="97" name="TextBox 96">
            <a:extLst>
              <a:ext uri="{FF2B5EF4-FFF2-40B4-BE49-F238E27FC236}">
                <a16:creationId xmlns:a16="http://schemas.microsoft.com/office/drawing/2014/main" id="{B3A4A83C-79F3-F24F-99C0-C6EEE134E488}"/>
              </a:ext>
            </a:extLst>
          </p:cNvPr>
          <p:cNvSpPr txBox="1"/>
          <p:nvPr/>
        </p:nvSpPr>
        <p:spPr>
          <a:xfrm>
            <a:off x="10077481" y="6041617"/>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EMC</a:t>
            </a:r>
          </a:p>
        </p:txBody>
      </p:sp>
      <p:sp>
        <p:nvSpPr>
          <p:cNvPr id="98" name="Rectangle: Rounded Corners 97">
            <a:extLst>
              <a:ext uri="{FF2B5EF4-FFF2-40B4-BE49-F238E27FC236}">
                <a16:creationId xmlns:a16="http://schemas.microsoft.com/office/drawing/2014/main" id="{1ED44D1E-0F5D-6F0E-6BA8-0944092D3B3B}"/>
              </a:ext>
            </a:extLst>
          </p:cNvPr>
          <p:cNvSpPr/>
          <p:nvPr/>
        </p:nvSpPr>
        <p:spPr>
          <a:xfrm>
            <a:off x="9756923" y="5293463"/>
            <a:ext cx="619916" cy="479981"/>
          </a:xfrm>
          <a:prstGeom prst="roundRect">
            <a:avLst>
              <a:gd name="adj" fmla="val 33733"/>
            </a:avLst>
          </a:prstGeom>
          <a:solidFill>
            <a:srgbClr val="2A2A2A">
              <a:alpha val="1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99" name="Rectangle: Rounded Corners 98">
            <a:extLst>
              <a:ext uri="{FF2B5EF4-FFF2-40B4-BE49-F238E27FC236}">
                <a16:creationId xmlns:a16="http://schemas.microsoft.com/office/drawing/2014/main" id="{00577C7E-F749-877C-D85D-10A2F9A2ADE0}"/>
              </a:ext>
            </a:extLst>
          </p:cNvPr>
          <p:cNvSpPr/>
          <p:nvPr/>
        </p:nvSpPr>
        <p:spPr>
          <a:xfrm>
            <a:off x="9688699" y="5765798"/>
            <a:ext cx="747038" cy="411566"/>
          </a:xfrm>
          <a:prstGeom prst="roundRect">
            <a:avLst>
              <a:gd name="adj" fmla="val 35137"/>
            </a:avLst>
          </a:prstGeom>
          <a:solidFill>
            <a:srgbClr val="2A2A2A">
              <a:alpha val="1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pic>
        <p:nvPicPr>
          <p:cNvPr id="101" name="Graphic 100" descr="Add outline">
            <a:extLst>
              <a:ext uri="{FF2B5EF4-FFF2-40B4-BE49-F238E27FC236}">
                <a16:creationId xmlns:a16="http://schemas.microsoft.com/office/drawing/2014/main" id="{05DF1CEA-8E6C-A4D5-34C1-EEE0D1E26A3F}"/>
              </a:ext>
            </a:extLst>
          </p:cNvPr>
          <p:cNvPicPr>
            <a:picLocks noChangeAspect="1"/>
          </p:cNvPicPr>
          <p:nvPr/>
        </p:nvPicPr>
        <p:blipFill>
          <a:blip r:embed="rId5">
            <a:extLst>
              <a:ext uri="{96DAC541-7B7A-43D3-8B79-37D633B846F1}">
                <asvg:svgBlip xmlns:asvg="http://schemas.microsoft.com/office/drawing/2016/SVG/main" r:embed="rId9"/>
              </a:ext>
            </a:extLst>
          </a:blip>
          <a:srcRect/>
          <a:stretch/>
        </p:blipFill>
        <p:spPr>
          <a:xfrm>
            <a:off x="9516189" y="5791029"/>
            <a:ext cx="106467" cy="106467"/>
          </a:xfrm>
          <a:prstGeom prst="rect">
            <a:avLst/>
          </a:prstGeom>
        </p:spPr>
      </p:pic>
      <p:sp>
        <p:nvSpPr>
          <p:cNvPr id="18" name="Arrow: Chevron 17">
            <a:extLst>
              <a:ext uri="{FF2B5EF4-FFF2-40B4-BE49-F238E27FC236}">
                <a16:creationId xmlns:a16="http://schemas.microsoft.com/office/drawing/2014/main" id="{E0B5B583-638C-DAC7-4D0A-E1D16E5452AD}"/>
              </a:ext>
            </a:extLst>
          </p:cNvPr>
          <p:cNvSpPr/>
          <p:nvPr/>
        </p:nvSpPr>
        <p:spPr>
          <a:xfrm>
            <a:off x="4071852" y="2353981"/>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21" name="Arrow: Chevron 20">
            <a:extLst>
              <a:ext uri="{FF2B5EF4-FFF2-40B4-BE49-F238E27FC236}">
                <a16:creationId xmlns:a16="http://schemas.microsoft.com/office/drawing/2014/main" id="{2F909A2B-2BA9-437B-26B2-61994FA0804D}"/>
              </a:ext>
            </a:extLst>
          </p:cNvPr>
          <p:cNvSpPr/>
          <p:nvPr/>
        </p:nvSpPr>
        <p:spPr>
          <a:xfrm>
            <a:off x="4071852" y="2846950"/>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27" name="Arrow: Chevron 26">
            <a:extLst>
              <a:ext uri="{FF2B5EF4-FFF2-40B4-BE49-F238E27FC236}">
                <a16:creationId xmlns:a16="http://schemas.microsoft.com/office/drawing/2014/main" id="{B250737E-682B-BC2B-F23D-852971F00C1E}"/>
              </a:ext>
            </a:extLst>
          </p:cNvPr>
          <p:cNvSpPr/>
          <p:nvPr/>
        </p:nvSpPr>
        <p:spPr>
          <a:xfrm>
            <a:off x="4071852" y="3450126"/>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28" name="Arrow: Chevron 27">
            <a:extLst>
              <a:ext uri="{FF2B5EF4-FFF2-40B4-BE49-F238E27FC236}">
                <a16:creationId xmlns:a16="http://schemas.microsoft.com/office/drawing/2014/main" id="{5CA21F6A-A378-2474-EEFB-7F1D8C26CAD3}"/>
              </a:ext>
            </a:extLst>
          </p:cNvPr>
          <p:cNvSpPr/>
          <p:nvPr/>
        </p:nvSpPr>
        <p:spPr>
          <a:xfrm>
            <a:off x="4071852" y="4057142"/>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29" name="Arrow: Chevron 28">
            <a:extLst>
              <a:ext uri="{FF2B5EF4-FFF2-40B4-BE49-F238E27FC236}">
                <a16:creationId xmlns:a16="http://schemas.microsoft.com/office/drawing/2014/main" id="{9FC4259A-389A-16F8-C62F-E000C66747CD}"/>
              </a:ext>
            </a:extLst>
          </p:cNvPr>
          <p:cNvSpPr/>
          <p:nvPr/>
        </p:nvSpPr>
        <p:spPr>
          <a:xfrm>
            <a:off x="4071852" y="4551571"/>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30" name="Arrow: Chevron 29">
            <a:extLst>
              <a:ext uri="{FF2B5EF4-FFF2-40B4-BE49-F238E27FC236}">
                <a16:creationId xmlns:a16="http://schemas.microsoft.com/office/drawing/2014/main" id="{32AB38CF-A4B9-0A9D-41B8-B0F8FB8D14BB}"/>
              </a:ext>
            </a:extLst>
          </p:cNvPr>
          <p:cNvSpPr/>
          <p:nvPr/>
        </p:nvSpPr>
        <p:spPr>
          <a:xfrm>
            <a:off x="4088923" y="5263257"/>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37" name="Arrow: Chevron 36">
            <a:extLst>
              <a:ext uri="{FF2B5EF4-FFF2-40B4-BE49-F238E27FC236}">
                <a16:creationId xmlns:a16="http://schemas.microsoft.com/office/drawing/2014/main" id="{B595F12F-A459-D5BF-980B-DAD4C8FE05D1}"/>
              </a:ext>
            </a:extLst>
          </p:cNvPr>
          <p:cNvSpPr/>
          <p:nvPr/>
        </p:nvSpPr>
        <p:spPr>
          <a:xfrm>
            <a:off x="4088595" y="5959565"/>
            <a:ext cx="134383" cy="170033"/>
          </a:xfrm>
          <a:prstGeom prst="chevron">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3E21BF4D-64A1-61B1-3DC7-D29A1746FC31}"/>
              </a:ext>
            </a:extLst>
          </p:cNvPr>
          <p:cNvSpPr txBox="1"/>
          <p:nvPr/>
        </p:nvSpPr>
        <p:spPr>
          <a:xfrm>
            <a:off x="9934027" y="2698411"/>
            <a:ext cx="885624" cy="169277"/>
          </a:xfrm>
          <a:prstGeom prst="rect">
            <a:avLst/>
          </a:prstGeom>
          <a:noFill/>
        </p:spPr>
        <p:txBody>
          <a:bodyPr wrap="square" rtlCol="0">
            <a:spAutoFit/>
          </a:bodyPr>
          <a:lstStyle/>
          <a:p>
            <a:r>
              <a:rPr lang="en-GB" sz="500" b="1" i="1">
                <a:latin typeface="Arial" panose="020B0604020202020204" pitchFamily="34" charset="0"/>
                <a:cs typeface="Arial" panose="020B0604020202020204" pitchFamily="34" charset="0"/>
              </a:rPr>
              <a:t>FA</a:t>
            </a:r>
          </a:p>
        </p:txBody>
      </p:sp>
      <p:pic>
        <p:nvPicPr>
          <p:cNvPr id="4" name="Picture 3" descr="Sia Partners Introduces SiaGPT | Business Wire">
            <a:extLst>
              <a:ext uri="{FF2B5EF4-FFF2-40B4-BE49-F238E27FC236}">
                <a16:creationId xmlns:a16="http://schemas.microsoft.com/office/drawing/2014/main" id="{2F6610AD-6E0B-42B4-9C44-3D94E0D7607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7841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137" name="Rectangle 136">
            <a:extLst>
              <a:ext uri="{FF2B5EF4-FFF2-40B4-BE49-F238E27FC236}">
                <a16:creationId xmlns:a16="http://schemas.microsoft.com/office/drawing/2014/main" id="{98BBB2CA-D150-7F69-9A83-588354FAA5E0}"/>
              </a:ext>
            </a:extLst>
          </p:cNvPr>
          <p:cNvSpPr/>
          <p:nvPr/>
        </p:nvSpPr>
        <p:spPr>
          <a:xfrm>
            <a:off x="7870871" y="5093630"/>
            <a:ext cx="3181617" cy="1266002"/>
          </a:xfrm>
          <a:prstGeom prst="rect">
            <a:avLst/>
          </a:prstGeom>
          <a:solidFill>
            <a:schemeClr val="bg1">
              <a:lumMod val="65000"/>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52EA9F96-BED5-D15B-82FA-CDEA3E70BD04}"/>
              </a:ext>
            </a:extLst>
          </p:cNvPr>
          <p:cNvSpPr/>
          <p:nvPr/>
        </p:nvSpPr>
        <p:spPr>
          <a:xfrm>
            <a:off x="4384237" y="5093630"/>
            <a:ext cx="3198065" cy="1266002"/>
          </a:xfrm>
          <a:prstGeom prst="rect">
            <a:avLst/>
          </a:prstGeom>
          <a:solidFill>
            <a:schemeClr val="bg1">
              <a:lumMod val="65000"/>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5" name="Rectangle 124">
            <a:extLst>
              <a:ext uri="{FF2B5EF4-FFF2-40B4-BE49-F238E27FC236}">
                <a16:creationId xmlns:a16="http://schemas.microsoft.com/office/drawing/2014/main" id="{2ED36764-00EF-2B7C-1F00-7E9E817E172D}"/>
              </a:ext>
            </a:extLst>
          </p:cNvPr>
          <p:cNvSpPr/>
          <p:nvPr/>
        </p:nvSpPr>
        <p:spPr>
          <a:xfrm>
            <a:off x="885637" y="5070160"/>
            <a:ext cx="3158171" cy="1266002"/>
          </a:xfrm>
          <a:prstGeom prst="rect">
            <a:avLst/>
          </a:prstGeom>
          <a:solidFill>
            <a:schemeClr val="bg1">
              <a:lumMod val="65000"/>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fontScale="90000"/>
          </a:bodyPr>
          <a:lstStyle/>
          <a:p>
            <a:r>
              <a:rPr lang="en-GB"/>
              <a:t>Commercial arrangement options for Flex Direct</a:t>
            </a:r>
          </a:p>
        </p:txBody>
      </p:sp>
      <p:sp>
        <p:nvSpPr>
          <p:cNvPr id="6" name="TextBox 5">
            <a:extLst>
              <a:ext uri="{FF2B5EF4-FFF2-40B4-BE49-F238E27FC236}">
                <a16:creationId xmlns:a16="http://schemas.microsoft.com/office/drawing/2014/main" id="{84AEE208-2228-9A04-BC68-B0695A027B66}"/>
              </a:ext>
            </a:extLst>
          </p:cNvPr>
          <p:cNvSpPr txBox="1"/>
          <p:nvPr/>
        </p:nvSpPr>
        <p:spPr>
          <a:xfrm>
            <a:off x="465372" y="1073163"/>
            <a:ext cx="11013824" cy="646331"/>
          </a:xfrm>
          <a:prstGeom prst="rect">
            <a:avLst/>
          </a:prstGeom>
          <a:noFill/>
        </p:spPr>
        <p:txBody>
          <a:bodyPr wrap="square" lIns="91440" tIns="45720" rIns="91440" bIns="45720" rtlCol="0" anchor="t">
            <a:spAutoFit/>
          </a:bodyPr>
          <a:lstStyle/>
          <a:p>
            <a:pPr algn="just" defTabSz="1219170">
              <a:defRPr/>
            </a:pPr>
            <a:r>
              <a:rPr lang="en-GB" b="1" kern="0" dirty="0">
                <a:latin typeface="Arial" panose="020B0604020202020204" pitchFamily="34" charset="0"/>
                <a:cs typeface="Arial" panose="020B0604020202020204" pitchFamily="34" charset="0"/>
              </a:rPr>
              <a:t>In Discovery, we have shortlisted three commercial arrangement options, each with varying stakeholder roles, responsibility and risk, to be explored for Alpha. </a:t>
            </a:r>
            <a:endParaRPr lang="en-US" dirty="0">
              <a:latin typeface="Arial" panose="020B0604020202020204" pitchFamily="34" charset="0"/>
              <a:cs typeface="Arial" panose="020B0604020202020204" pitchFamily="34" charset="0"/>
            </a:endParaRPr>
          </a:p>
        </p:txBody>
      </p:sp>
      <p:grpSp>
        <p:nvGrpSpPr>
          <p:cNvPr id="108" name="Group 107">
            <a:extLst>
              <a:ext uri="{FF2B5EF4-FFF2-40B4-BE49-F238E27FC236}">
                <a16:creationId xmlns:a16="http://schemas.microsoft.com/office/drawing/2014/main" id="{2A46D187-93D6-2651-7DD4-56147E16FFD0}"/>
              </a:ext>
            </a:extLst>
          </p:cNvPr>
          <p:cNvGrpSpPr/>
          <p:nvPr/>
        </p:nvGrpSpPr>
        <p:grpSpPr>
          <a:xfrm>
            <a:off x="4382470" y="1904829"/>
            <a:ext cx="3199832" cy="3498828"/>
            <a:chOff x="4498133" y="2161137"/>
            <a:chExt cx="3199832" cy="3498828"/>
          </a:xfrm>
        </p:grpSpPr>
        <p:sp>
          <p:nvSpPr>
            <p:cNvPr id="107" name="Rectangle 106">
              <a:extLst>
                <a:ext uri="{FF2B5EF4-FFF2-40B4-BE49-F238E27FC236}">
                  <a16:creationId xmlns:a16="http://schemas.microsoft.com/office/drawing/2014/main" id="{E4F381DF-A459-CE58-1A93-E74E253C1BA3}"/>
                </a:ext>
              </a:extLst>
            </p:cNvPr>
            <p:cNvSpPr/>
            <p:nvPr/>
          </p:nvSpPr>
          <p:spPr>
            <a:xfrm>
              <a:off x="4498133" y="3315261"/>
              <a:ext cx="3199832" cy="2344704"/>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nvGrpSpPr>
            <p:cNvPr id="103" name="Group 102">
              <a:extLst>
                <a:ext uri="{FF2B5EF4-FFF2-40B4-BE49-F238E27FC236}">
                  <a16:creationId xmlns:a16="http://schemas.microsoft.com/office/drawing/2014/main" id="{DCA7C81C-3444-05C2-9F7A-CF0695016D16}"/>
                </a:ext>
              </a:extLst>
            </p:cNvPr>
            <p:cNvGrpSpPr/>
            <p:nvPr/>
          </p:nvGrpSpPr>
          <p:grpSpPr>
            <a:xfrm>
              <a:off x="4501016" y="2161137"/>
              <a:ext cx="3194209" cy="1541501"/>
              <a:chOff x="4395508" y="2168899"/>
              <a:chExt cx="3071055" cy="1541501"/>
            </a:xfrm>
          </p:grpSpPr>
          <p:sp>
            <p:nvSpPr>
              <p:cNvPr id="33" name="Rectangle 32">
                <a:extLst>
                  <a:ext uri="{FF2B5EF4-FFF2-40B4-BE49-F238E27FC236}">
                    <a16:creationId xmlns:a16="http://schemas.microsoft.com/office/drawing/2014/main" id="{F7B4BF86-ACAE-EA44-9862-43E8B85D622A}"/>
                  </a:ext>
                </a:extLst>
              </p:cNvPr>
              <p:cNvSpPr/>
              <p:nvPr/>
            </p:nvSpPr>
            <p:spPr>
              <a:xfrm>
                <a:off x="4395508" y="2168899"/>
                <a:ext cx="3071055" cy="1541501"/>
              </a:xfrm>
              <a:prstGeom prst="rect">
                <a:avLst/>
              </a:prstGeom>
              <a:solidFill>
                <a:schemeClr val="accent2">
                  <a:lumMod val="20000"/>
                  <a:lumOff val="80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BDB745B2-6C06-ECBA-F71C-7A7095A9D72A}"/>
                  </a:ext>
                </a:extLst>
              </p:cNvPr>
              <p:cNvSpPr txBox="1"/>
              <p:nvPr/>
            </p:nvSpPr>
            <p:spPr>
              <a:xfrm>
                <a:off x="4558589" y="2226744"/>
                <a:ext cx="2745109" cy="677108"/>
              </a:xfrm>
              <a:prstGeom prst="rect">
                <a:avLst/>
              </a:prstGeom>
              <a:noFill/>
              <a:ln>
                <a:noFill/>
              </a:ln>
            </p:spPr>
            <p:txBody>
              <a:bodyPr wrap="square" rtlCol="0">
                <a:spAutoFit/>
              </a:bodyPr>
              <a:lstStyle/>
              <a:p>
                <a:pPr algn="ctr"/>
                <a:r>
                  <a:rPr lang="en-GB" sz="1330" b="1">
                    <a:latin typeface="Arial" panose="020B0604020202020204" pitchFamily="34" charset="0"/>
                    <a:cs typeface="Arial" panose="020B0604020202020204" pitchFamily="34" charset="0"/>
                  </a:rPr>
                  <a:t>2. Direct contracting with local authorities</a:t>
                </a:r>
              </a:p>
              <a:p>
                <a:pPr algn="ctr"/>
                <a:endParaRPr lang="en-GB" sz="1000" b="1">
                  <a:solidFill>
                    <a:srgbClr val="FFFFFF"/>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639E49E5-FC86-EC26-E856-87AD86FB0B90}"/>
                  </a:ext>
                </a:extLst>
              </p:cNvPr>
              <p:cNvGrpSpPr/>
              <p:nvPr/>
            </p:nvGrpSpPr>
            <p:grpSpPr>
              <a:xfrm>
                <a:off x="5646525" y="2800227"/>
                <a:ext cx="1623326" cy="688361"/>
                <a:chOff x="5499896" y="2435073"/>
                <a:chExt cx="1379475" cy="507192"/>
              </a:xfrm>
            </p:grpSpPr>
            <p:pic>
              <p:nvPicPr>
                <p:cNvPr id="77" name="Graphic 76" descr="Bank with solid fill">
                  <a:extLst>
                    <a:ext uri="{FF2B5EF4-FFF2-40B4-BE49-F238E27FC236}">
                      <a16:creationId xmlns:a16="http://schemas.microsoft.com/office/drawing/2014/main" id="{037D63D3-EE02-2E0A-AA3B-2E54E4C0BF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9038" y="2528864"/>
                  <a:ext cx="413401" cy="413401"/>
                </a:xfrm>
                <a:prstGeom prst="rect">
                  <a:avLst/>
                </a:prstGeom>
                <a:effectLst/>
              </p:spPr>
            </p:pic>
            <p:cxnSp>
              <p:nvCxnSpPr>
                <p:cNvPr id="79" name="Straight Arrow Connector 78">
                  <a:extLst>
                    <a:ext uri="{FF2B5EF4-FFF2-40B4-BE49-F238E27FC236}">
                      <a16:creationId xmlns:a16="http://schemas.microsoft.com/office/drawing/2014/main" id="{4CBC25EA-B62D-B355-032C-00F1E10788D1}"/>
                    </a:ext>
                  </a:extLst>
                </p:cNvPr>
                <p:cNvCxnSpPr>
                  <a:cxnSpLocks/>
                </p:cNvCxnSpPr>
                <p:nvPr/>
              </p:nvCxnSpPr>
              <p:spPr>
                <a:xfrm flipV="1">
                  <a:off x="5499896" y="2734996"/>
                  <a:ext cx="429142" cy="5161"/>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40BCC881-6EA5-3065-884F-C9D9413E2D96}"/>
                    </a:ext>
                  </a:extLst>
                </p:cNvPr>
                <p:cNvSpPr txBox="1"/>
                <p:nvPr/>
              </p:nvSpPr>
              <p:spPr>
                <a:xfrm>
                  <a:off x="5993747" y="2435073"/>
                  <a:ext cx="885624" cy="187088"/>
                </a:xfrm>
                <a:prstGeom prst="rect">
                  <a:avLst/>
                </a:prstGeom>
                <a:noFill/>
              </p:spPr>
              <p:txBody>
                <a:bodyPr wrap="square" rtlCol="0">
                  <a:spAutoFit/>
                </a:bodyPr>
                <a:lstStyle/>
                <a:p>
                  <a:r>
                    <a:rPr lang="en-GB" sz="1050" b="1" i="1">
                      <a:latin typeface="Arial" panose="020B0604020202020204" pitchFamily="34" charset="0"/>
                      <a:cs typeface="Arial" panose="020B0604020202020204" pitchFamily="34" charset="0"/>
                    </a:rPr>
                    <a:t>LA</a:t>
                  </a:r>
                </a:p>
              </p:txBody>
            </p:sp>
            <p:pic>
              <p:nvPicPr>
                <p:cNvPr id="82" name="Graphic 81" descr="Add outline">
                  <a:extLst>
                    <a:ext uri="{FF2B5EF4-FFF2-40B4-BE49-F238E27FC236}">
                      <a16:creationId xmlns:a16="http://schemas.microsoft.com/office/drawing/2014/main" id="{E7C4D2BE-BE9F-5A1F-D723-857386D021E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661233" y="2814822"/>
                  <a:ext cx="106467" cy="106467"/>
                </a:xfrm>
                <a:prstGeom prst="rect">
                  <a:avLst/>
                </a:prstGeom>
              </p:spPr>
            </p:pic>
          </p:grpSp>
        </p:grpSp>
      </p:grpSp>
      <p:sp>
        <p:nvSpPr>
          <p:cNvPr id="105" name="Rectangle: Rounded Corners 104">
            <a:extLst>
              <a:ext uri="{FF2B5EF4-FFF2-40B4-BE49-F238E27FC236}">
                <a16:creationId xmlns:a16="http://schemas.microsoft.com/office/drawing/2014/main" id="{D4355767-1B6D-337A-EF67-3B38FCF5B746}"/>
              </a:ext>
            </a:extLst>
          </p:cNvPr>
          <p:cNvSpPr/>
          <p:nvPr/>
        </p:nvSpPr>
        <p:spPr>
          <a:xfrm>
            <a:off x="883354" y="3076440"/>
            <a:ext cx="3176498" cy="2327217"/>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6C5CCE13-8369-3AC3-FDE1-394139271284}"/>
              </a:ext>
            </a:extLst>
          </p:cNvPr>
          <p:cNvSpPr/>
          <p:nvPr/>
        </p:nvSpPr>
        <p:spPr>
          <a:xfrm>
            <a:off x="886352" y="1886219"/>
            <a:ext cx="3158171" cy="1560111"/>
          </a:xfrm>
          <a:prstGeom prst="rect">
            <a:avLst/>
          </a:prstGeom>
          <a:solidFill>
            <a:srgbClr val="F8CBAD"/>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17CBF0CA-2797-338F-5A75-CFA63CC93D50}"/>
              </a:ext>
            </a:extLst>
          </p:cNvPr>
          <p:cNvSpPr txBox="1"/>
          <p:nvPr/>
        </p:nvSpPr>
        <p:spPr>
          <a:xfrm>
            <a:off x="1075744" y="2003672"/>
            <a:ext cx="2760697" cy="564322"/>
          </a:xfrm>
          <a:prstGeom prst="rect">
            <a:avLst/>
          </a:prstGeom>
          <a:noFill/>
          <a:ln>
            <a:noFill/>
          </a:ln>
        </p:spPr>
        <p:txBody>
          <a:bodyPr wrap="square" rtlCol="0">
            <a:spAutoFit/>
          </a:bodyPr>
          <a:lstStyle/>
          <a:p>
            <a:pPr algn="ctr"/>
            <a:r>
              <a:rPr lang="en-GB" sz="1400" b="1" dirty="0">
                <a:latin typeface="Arial" panose="020B0604020202020204" pitchFamily="34" charset="0"/>
                <a:cs typeface="Arial" panose="020B0604020202020204" pitchFamily="34" charset="0"/>
              </a:rPr>
              <a:t>1. Enhanced business as usual Scenario</a:t>
            </a:r>
          </a:p>
          <a:p>
            <a:pPr algn="ctr"/>
            <a:endParaRPr lang="en-GB" sz="267" b="1" dirty="0">
              <a:solidFill>
                <a:srgbClr val="383838"/>
              </a:solidFill>
              <a:latin typeface="Arial" panose="020B0604020202020204" pitchFamily="34" charset="0"/>
              <a:cs typeface="Arial" panose="020B0604020202020204" pitchFamily="34" charset="0"/>
            </a:endParaRPr>
          </a:p>
        </p:txBody>
      </p:sp>
      <p:cxnSp>
        <p:nvCxnSpPr>
          <p:cNvPr id="74" name="Straight Arrow Connector 73">
            <a:extLst>
              <a:ext uri="{FF2B5EF4-FFF2-40B4-BE49-F238E27FC236}">
                <a16:creationId xmlns:a16="http://schemas.microsoft.com/office/drawing/2014/main" id="{5186BF24-610C-7E9C-E652-D791F200E34E}"/>
              </a:ext>
            </a:extLst>
          </p:cNvPr>
          <p:cNvCxnSpPr>
            <a:cxnSpLocks/>
          </p:cNvCxnSpPr>
          <p:nvPr/>
        </p:nvCxnSpPr>
        <p:spPr>
          <a:xfrm flipV="1">
            <a:off x="2129332" y="2932716"/>
            <a:ext cx="535311" cy="9128"/>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6" name="Graphic 75" descr="Add outline">
            <a:extLst>
              <a:ext uri="{FF2B5EF4-FFF2-40B4-BE49-F238E27FC236}">
                <a16:creationId xmlns:a16="http://schemas.microsoft.com/office/drawing/2014/main" id="{5F23C074-C380-F282-0C26-F707FB7C146D}"/>
              </a:ext>
            </a:extLst>
          </p:cNvPr>
          <p:cNvPicPr>
            <a:picLocks noChangeAspect="1"/>
          </p:cNvPicPr>
          <p:nvPr/>
        </p:nvPicPr>
        <p:blipFill>
          <a:blip r:embed="rId5">
            <a:extLst>
              <a:ext uri="{96DAC541-7B7A-43D3-8B79-37D633B846F1}">
                <asvg:svgBlip xmlns:asvg="http://schemas.microsoft.com/office/drawing/2016/SVG/main" r:embed="rId7"/>
              </a:ext>
            </a:extLst>
          </a:blip>
          <a:srcRect/>
          <a:stretch/>
        </p:blipFill>
        <p:spPr>
          <a:xfrm>
            <a:off x="2346909" y="3030577"/>
            <a:ext cx="132320" cy="144641"/>
          </a:xfrm>
          <a:prstGeom prst="rect">
            <a:avLst/>
          </a:prstGeom>
        </p:spPr>
      </p:pic>
      <p:sp>
        <p:nvSpPr>
          <p:cNvPr id="21" name="TextBox 20">
            <a:extLst>
              <a:ext uri="{FF2B5EF4-FFF2-40B4-BE49-F238E27FC236}">
                <a16:creationId xmlns:a16="http://schemas.microsoft.com/office/drawing/2014/main" id="{818991A8-4B3A-9E8B-925A-F845BCE03F6D}"/>
              </a:ext>
            </a:extLst>
          </p:cNvPr>
          <p:cNvSpPr txBox="1"/>
          <p:nvPr/>
        </p:nvSpPr>
        <p:spPr>
          <a:xfrm>
            <a:off x="2756614" y="2534344"/>
            <a:ext cx="1100673"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FA</a:t>
            </a:r>
          </a:p>
        </p:txBody>
      </p:sp>
      <p:sp>
        <p:nvSpPr>
          <p:cNvPr id="106" name="Rectangle 105">
            <a:extLst>
              <a:ext uri="{FF2B5EF4-FFF2-40B4-BE49-F238E27FC236}">
                <a16:creationId xmlns:a16="http://schemas.microsoft.com/office/drawing/2014/main" id="{E9BC9DAF-B829-8310-6864-CBD1BD4BA1FA}"/>
              </a:ext>
            </a:extLst>
          </p:cNvPr>
          <p:cNvSpPr/>
          <p:nvPr/>
        </p:nvSpPr>
        <p:spPr>
          <a:xfrm>
            <a:off x="7868131" y="3165768"/>
            <a:ext cx="3184357" cy="2237889"/>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1F239BC-9545-AF9B-9246-A4D9B1F71CA3}"/>
              </a:ext>
            </a:extLst>
          </p:cNvPr>
          <p:cNvSpPr/>
          <p:nvPr/>
        </p:nvSpPr>
        <p:spPr>
          <a:xfrm>
            <a:off x="7858280" y="1904866"/>
            <a:ext cx="3194209" cy="1541502"/>
          </a:xfrm>
          <a:prstGeom prst="rect">
            <a:avLst/>
          </a:prstGeom>
          <a:solidFill>
            <a:srgbClr val="F8CBAD"/>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FE4F7089-2493-9973-355E-38434849F1FB}"/>
              </a:ext>
            </a:extLst>
          </p:cNvPr>
          <p:cNvSpPr txBox="1"/>
          <p:nvPr/>
        </p:nvSpPr>
        <p:spPr>
          <a:xfrm>
            <a:off x="7871015" y="1940054"/>
            <a:ext cx="3072100" cy="655564"/>
          </a:xfrm>
          <a:prstGeom prst="rect">
            <a:avLst/>
          </a:prstGeom>
          <a:noFill/>
          <a:ln>
            <a:noFill/>
          </a:ln>
        </p:spPr>
        <p:txBody>
          <a:bodyPr wrap="square" rtlCol="0">
            <a:spAutoFit/>
          </a:bodyPr>
          <a:lstStyle/>
          <a:p>
            <a:pPr algn="ctr"/>
            <a:r>
              <a:rPr lang="en-GB" sz="1330" b="1">
                <a:latin typeface="Arial" panose="020B0604020202020204" pitchFamily="34" charset="0"/>
                <a:cs typeface="Arial" panose="020B0604020202020204" pitchFamily="34" charset="0"/>
              </a:rPr>
              <a:t>3. Direct contracting with local authorities, and wider supply chain </a:t>
            </a:r>
          </a:p>
          <a:p>
            <a:pPr algn="ctr"/>
            <a:endParaRPr lang="en-GB" sz="1000" b="1">
              <a:solidFill>
                <a:srgbClr val="FFFFFF"/>
              </a:solidFill>
              <a:latin typeface="Arial" panose="020B0604020202020204" pitchFamily="34" charset="0"/>
              <a:cs typeface="Arial" panose="020B0604020202020204" pitchFamily="34" charset="0"/>
            </a:endParaRPr>
          </a:p>
        </p:txBody>
      </p:sp>
      <p:grpSp>
        <p:nvGrpSpPr>
          <p:cNvPr id="83" name="Google Shape;1648;p66">
            <a:extLst>
              <a:ext uri="{FF2B5EF4-FFF2-40B4-BE49-F238E27FC236}">
                <a16:creationId xmlns:a16="http://schemas.microsoft.com/office/drawing/2014/main" id="{5609021F-69FC-A814-2B85-ED53B63CB84F}"/>
              </a:ext>
            </a:extLst>
          </p:cNvPr>
          <p:cNvGrpSpPr/>
          <p:nvPr/>
        </p:nvGrpSpPr>
        <p:grpSpPr>
          <a:xfrm>
            <a:off x="9998944" y="2883537"/>
            <a:ext cx="267782" cy="246221"/>
            <a:chOff x="6522467" y="2827131"/>
            <a:chExt cx="560287" cy="530110"/>
          </a:xfrm>
          <a:solidFill>
            <a:schemeClr val="tx1"/>
          </a:solidFill>
          <a:effectLst/>
        </p:grpSpPr>
        <p:sp>
          <p:nvSpPr>
            <p:cNvPr id="84" name="Google Shape;1649;p66">
              <a:extLst>
                <a:ext uri="{FF2B5EF4-FFF2-40B4-BE49-F238E27FC236}">
                  <a16:creationId xmlns:a16="http://schemas.microsoft.com/office/drawing/2014/main" id="{AD7060D0-EE89-34CC-BBB2-2B6538E90D1F}"/>
                </a:ext>
              </a:extLst>
            </p:cNvPr>
            <p:cNvSpPr/>
            <p:nvPr/>
          </p:nvSpPr>
          <p:spPr>
            <a:xfrm>
              <a:off x="6897428" y="2930567"/>
              <a:ext cx="150848" cy="129296"/>
            </a:xfrm>
            <a:custGeom>
              <a:avLst/>
              <a:gdLst/>
              <a:ahLst/>
              <a:cxnLst/>
              <a:rect l="l" t="t" r="r" b="b"/>
              <a:pathLst>
                <a:path w="162" h="141" extrusionOk="0">
                  <a:moveTo>
                    <a:pt x="82" y="47"/>
                  </a:moveTo>
                  <a:cubicBezTo>
                    <a:pt x="6" y="86"/>
                    <a:pt x="6" y="86"/>
                    <a:pt x="6" y="86"/>
                  </a:cubicBezTo>
                  <a:cubicBezTo>
                    <a:pt x="2" y="88"/>
                    <a:pt x="0" y="91"/>
                    <a:pt x="0" y="95"/>
                  </a:cubicBezTo>
                  <a:cubicBezTo>
                    <a:pt x="0" y="130"/>
                    <a:pt x="0" y="130"/>
                    <a:pt x="0" y="130"/>
                  </a:cubicBezTo>
                  <a:cubicBezTo>
                    <a:pt x="0" y="136"/>
                    <a:pt x="5" y="141"/>
                    <a:pt x="10" y="141"/>
                  </a:cubicBezTo>
                  <a:cubicBezTo>
                    <a:pt x="16" y="141"/>
                    <a:pt x="21" y="136"/>
                    <a:pt x="21" y="130"/>
                  </a:cubicBezTo>
                  <a:cubicBezTo>
                    <a:pt x="21" y="102"/>
                    <a:pt x="21" y="102"/>
                    <a:pt x="21" y="102"/>
                  </a:cubicBezTo>
                  <a:cubicBezTo>
                    <a:pt x="91" y="66"/>
                    <a:pt x="91" y="66"/>
                    <a:pt x="91" y="66"/>
                  </a:cubicBezTo>
                  <a:cubicBezTo>
                    <a:pt x="99" y="74"/>
                    <a:pt x="110" y="79"/>
                    <a:pt x="121" y="79"/>
                  </a:cubicBezTo>
                  <a:cubicBezTo>
                    <a:pt x="121" y="79"/>
                    <a:pt x="121" y="79"/>
                    <a:pt x="121" y="79"/>
                  </a:cubicBezTo>
                  <a:cubicBezTo>
                    <a:pt x="127" y="79"/>
                    <a:pt x="133" y="78"/>
                    <a:pt x="138" y="75"/>
                  </a:cubicBezTo>
                  <a:cubicBezTo>
                    <a:pt x="148" y="71"/>
                    <a:pt x="155" y="63"/>
                    <a:pt x="159" y="53"/>
                  </a:cubicBezTo>
                  <a:cubicBezTo>
                    <a:pt x="162" y="43"/>
                    <a:pt x="162" y="32"/>
                    <a:pt x="157" y="22"/>
                  </a:cubicBezTo>
                  <a:cubicBezTo>
                    <a:pt x="151" y="9"/>
                    <a:pt x="137" y="0"/>
                    <a:pt x="121" y="0"/>
                  </a:cubicBezTo>
                  <a:cubicBezTo>
                    <a:pt x="115" y="0"/>
                    <a:pt x="110" y="1"/>
                    <a:pt x="104" y="4"/>
                  </a:cubicBezTo>
                  <a:cubicBezTo>
                    <a:pt x="95" y="8"/>
                    <a:pt x="87" y="16"/>
                    <a:pt x="84" y="26"/>
                  </a:cubicBezTo>
                  <a:cubicBezTo>
                    <a:pt x="82" y="33"/>
                    <a:pt x="81" y="40"/>
                    <a:pt x="82" y="47"/>
                  </a:cubicBezTo>
                  <a:close/>
                  <a:moveTo>
                    <a:pt x="103" y="33"/>
                  </a:moveTo>
                  <a:cubicBezTo>
                    <a:pt x="105" y="28"/>
                    <a:pt x="109" y="25"/>
                    <a:pt x="113" y="22"/>
                  </a:cubicBezTo>
                  <a:cubicBezTo>
                    <a:pt x="116" y="21"/>
                    <a:pt x="119" y="21"/>
                    <a:pt x="121" y="21"/>
                  </a:cubicBezTo>
                  <a:cubicBezTo>
                    <a:pt x="129" y="21"/>
                    <a:pt x="135" y="25"/>
                    <a:pt x="139" y="31"/>
                  </a:cubicBezTo>
                  <a:cubicBezTo>
                    <a:pt x="141" y="36"/>
                    <a:pt x="141" y="41"/>
                    <a:pt x="139" y="46"/>
                  </a:cubicBezTo>
                  <a:cubicBezTo>
                    <a:pt x="138" y="51"/>
                    <a:pt x="134" y="55"/>
                    <a:pt x="130" y="57"/>
                  </a:cubicBezTo>
                  <a:cubicBezTo>
                    <a:pt x="127" y="58"/>
                    <a:pt x="124" y="59"/>
                    <a:pt x="121" y="59"/>
                  </a:cubicBezTo>
                  <a:cubicBezTo>
                    <a:pt x="114" y="59"/>
                    <a:pt x="107" y="54"/>
                    <a:pt x="104" y="48"/>
                  </a:cubicBezTo>
                  <a:cubicBezTo>
                    <a:pt x="102" y="43"/>
                    <a:pt x="102" y="38"/>
                    <a:pt x="103" y="33"/>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5" name="Google Shape;1650;p66">
              <a:extLst>
                <a:ext uri="{FF2B5EF4-FFF2-40B4-BE49-F238E27FC236}">
                  <a16:creationId xmlns:a16="http://schemas.microsoft.com/office/drawing/2014/main" id="{337480EF-CAFC-5FD2-DF22-F0A6E97A5AC9}"/>
                </a:ext>
              </a:extLst>
            </p:cNvPr>
            <p:cNvSpPr/>
            <p:nvPr/>
          </p:nvSpPr>
          <p:spPr>
            <a:xfrm>
              <a:off x="6850021" y="2840059"/>
              <a:ext cx="124988" cy="211186"/>
            </a:xfrm>
            <a:custGeom>
              <a:avLst/>
              <a:gdLst/>
              <a:ahLst/>
              <a:cxnLst/>
              <a:rect l="l" t="t" r="r" b="b"/>
              <a:pathLst>
                <a:path w="135" h="224" extrusionOk="0">
                  <a:moveTo>
                    <a:pt x="11" y="224"/>
                  </a:moveTo>
                  <a:cubicBezTo>
                    <a:pt x="16" y="224"/>
                    <a:pt x="21" y="220"/>
                    <a:pt x="21" y="214"/>
                  </a:cubicBezTo>
                  <a:cubicBezTo>
                    <a:pt x="21" y="164"/>
                    <a:pt x="21" y="164"/>
                    <a:pt x="21" y="164"/>
                  </a:cubicBezTo>
                  <a:cubicBezTo>
                    <a:pt x="100" y="124"/>
                    <a:pt x="100" y="124"/>
                    <a:pt x="100" y="124"/>
                  </a:cubicBezTo>
                  <a:cubicBezTo>
                    <a:pt x="103" y="123"/>
                    <a:pt x="105" y="119"/>
                    <a:pt x="105" y="115"/>
                  </a:cubicBezTo>
                  <a:cubicBezTo>
                    <a:pt x="105" y="78"/>
                    <a:pt x="105" y="78"/>
                    <a:pt x="105" y="78"/>
                  </a:cubicBezTo>
                  <a:cubicBezTo>
                    <a:pt x="122" y="73"/>
                    <a:pt x="135" y="58"/>
                    <a:pt x="135" y="40"/>
                  </a:cubicBezTo>
                  <a:cubicBezTo>
                    <a:pt x="135" y="18"/>
                    <a:pt x="117" y="0"/>
                    <a:pt x="95" y="0"/>
                  </a:cubicBezTo>
                  <a:cubicBezTo>
                    <a:pt x="73" y="0"/>
                    <a:pt x="55" y="18"/>
                    <a:pt x="55" y="40"/>
                  </a:cubicBezTo>
                  <a:cubicBezTo>
                    <a:pt x="55" y="58"/>
                    <a:pt x="68" y="73"/>
                    <a:pt x="85" y="78"/>
                  </a:cubicBezTo>
                  <a:cubicBezTo>
                    <a:pt x="85" y="109"/>
                    <a:pt x="85" y="109"/>
                    <a:pt x="85" y="109"/>
                  </a:cubicBezTo>
                  <a:cubicBezTo>
                    <a:pt x="6" y="149"/>
                    <a:pt x="6" y="149"/>
                    <a:pt x="6" y="149"/>
                  </a:cubicBezTo>
                  <a:cubicBezTo>
                    <a:pt x="2" y="151"/>
                    <a:pt x="0" y="154"/>
                    <a:pt x="0" y="158"/>
                  </a:cubicBezTo>
                  <a:cubicBezTo>
                    <a:pt x="0" y="214"/>
                    <a:pt x="0" y="214"/>
                    <a:pt x="0" y="214"/>
                  </a:cubicBezTo>
                  <a:cubicBezTo>
                    <a:pt x="0" y="220"/>
                    <a:pt x="5" y="224"/>
                    <a:pt x="11" y="224"/>
                  </a:cubicBezTo>
                  <a:close/>
                  <a:moveTo>
                    <a:pt x="76" y="40"/>
                  </a:moveTo>
                  <a:cubicBezTo>
                    <a:pt x="76" y="29"/>
                    <a:pt x="84" y="21"/>
                    <a:pt x="95" y="21"/>
                  </a:cubicBezTo>
                  <a:cubicBezTo>
                    <a:pt x="105" y="21"/>
                    <a:pt x="114" y="29"/>
                    <a:pt x="114" y="40"/>
                  </a:cubicBezTo>
                  <a:cubicBezTo>
                    <a:pt x="114" y="50"/>
                    <a:pt x="105" y="59"/>
                    <a:pt x="95" y="59"/>
                  </a:cubicBezTo>
                  <a:cubicBezTo>
                    <a:pt x="84" y="59"/>
                    <a:pt x="76" y="50"/>
                    <a:pt x="76" y="40"/>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6" name="Google Shape;1651;p66">
              <a:extLst>
                <a:ext uri="{FF2B5EF4-FFF2-40B4-BE49-F238E27FC236}">
                  <a16:creationId xmlns:a16="http://schemas.microsoft.com/office/drawing/2014/main" id="{BE56E1DD-971C-B703-3B55-C05925FABFC4}"/>
                </a:ext>
              </a:extLst>
            </p:cNvPr>
            <p:cNvSpPr/>
            <p:nvPr/>
          </p:nvSpPr>
          <p:spPr>
            <a:xfrm>
              <a:off x="6768131" y="2827131"/>
              <a:ext cx="77578" cy="215495"/>
            </a:xfrm>
            <a:custGeom>
              <a:avLst/>
              <a:gdLst/>
              <a:ahLst/>
              <a:cxnLst/>
              <a:rect l="l" t="t" r="r" b="b"/>
              <a:pathLst>
                <a:path w="79" h="231" extrusionOk="0">
                  <a:moveTo>
                    <a:pt x="29" y="77"/>
                  </a:moveTo>
                  <a:cubicBezTo>
                    <a:pt x="29" y="78"/>
                    <a:pt x="29" y="78"/>
                    <a:pt x="29" y="78"/>
                  </a:cubicBezTo>
                  <a:cubicBezTo>
                    <a:pt x="29" y="221"/>
                    <a:pt x="29" y="221"/>
                    <a:pt x="29" y="221"/>
                  </a:cubicBezTo>
                  <a:cubicBezTo>
                    <a:pt x="29" y="226"/>
                    <a:pt x="34" y="231"/>
                    <a:pt x="39" y="231"/>
                  </a:cubicBezTo>
                  <a:cubicBezTo>
                    <a:pt x="45" y="231"/>
                    <a:pt x="50" y="226"/>
                    <a:pt x="50" y="221"/>
                  </a:cubicBezTo>
                  <a:cubicBezTo>
                    <a:pt x="50" y="78"/>
                    <a:pt x="50" y="78"/>
                    <a:pt x="50" y="78"/>
                  </a:cubicBezTo>
                  <a:cubicBezTo>
                    <a:pt x="50" y="78"/>
                    <a:pt x="50" y="78"/>
                    <a:pt x="50" y="77"/>
                  </a:cubicBezTo>
                  <a:cubicBezTo>
                    <a:pt x="66" y="73"/>
                    <a:pt x="79" y="58"/>
                    <a:pt x="79" y="39"/>
                  </a:cubicBezTo>
                  <a:cubicBezTo>
                    <a:pt x="79" y="17"/>
                    <a:pt x="61" y="0"/>
                    <a:pt x="39" y="0"/>
                  </a:cubicBezTo>
                  <a:cubicBezTo>
                    <a:pt x="17" y="0"/>
                    <a:pt x="0" y="17"/>
                    <a:pt x="0" y="39"/>
                  </a:cubicBezTo>
                  <a:cubicBezTo>
                    <a:pt x="0" y="58"/>
                    <a:pt x="12" y="73"/>
                    <a:pt x="29" y="77"/>
                  </a:cubicBezTo>
                  <a:close/>
                  <a:moveTo>
                    <a:pt x="39" y="20"/>
                  </a:moveTo>
                  <a:cubicBezTo>
                    <a:pt x="50" y="20"/>
                    <a:pt x="58" y="29"/>
                    <a:pt x="58" y="39"/>
                  </a:cubicBezTo>
                  <a:cubicBezTo>
                    <a:pt x="58" y="50"/>
                    <a:pt x="50" y="58"/>
                    <a:pt x="39" y="58"/>
                  </a:cubicBezTo>
                  <a:cubicBezTo>
                    <a:pt x="29" y="58"/>
                    <a:pt x="20" y="50"/>
                    <a:pt x="20" y="39"/>
                  </a:cubicBezTo>
                  <a:cubicBezTo>
                    <a:pt x="20" y="29"/>
                    <a:pt x="29" y="20"/>
                    <a:pt x="39" y="20"/>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7" name="Google Shape;1652;p66">
              <a:extLst>
                <a:ext uri="{FF2B5EF4-FFF2-40B4-BE49-F238E27FC236}">
                  <a16:creationId xmlns:a16="http://schemas.microsoft.com/office/drawing/2014/main" id="{9745392A-6257-B1E3-BF4F-373C50F4FCFE}"/>
                </a:ext>
              </a:extLst>
            </p:cNvPr>
            <p:cNvSpPr/>
            <p:nvPr/>
          </p:nvSpPr>
          <p:spPr>
            <a:xfrm>
              <a:off x="6561256" y="2930568"/>
              <a:ext cx="155156" cy="129297"/>
            </a:xfrm>
            <a:custGeom>
              <a:avLst/>
              <a:gdLst/>
              <a:ahLst/>
              <a:cxnLst/>
              <a:rect l="l" t="t" r="r" b="b"/>
              <a:pathLst>
                <a:path w="167" h="141" extrusionOk="0">
                  <a:moveTo>
                    <a:pt x="28" y="75"/>
                  </a:moveTo>
                  <a:cubicBezTo>
                    <a:pt x="33" y="78"/>
                    <a:pt x="39" y="79"/>
                    <a:pt x="45" y="79"/>
                  </a:cubicBezTo>
                  <a:cubicBezTo>
                    <a:pt x="57" y="79"/>
                    <a:pt x="68" y="74"/>
                    <a:pt x="75" y="66"/>
                  </a:cubicBezTo>
                  <a:cubicBezTo>
                    <a:pt x="146" y="102"/>
                    <a:pt x="146" y="102"/>
                    <a:pt x="146" y="102"/>
                  </a:cubicBezTo>
                  <a:cubicBezTo>
                    <a:pt x="146" y="130"/>
                    <a:pt x="146" y="130"/>
                    <a:pt x="146" y="130"/>
                  </a:cubicBezTo>
                  <a:cubicBezTo>
                    <a:pt x="146" y="136"/>
                    <a:pt x="150" y="141"/>
                    <a:pt x="156" y="141"/>
                  </a:cubicBezTo>
                  <a:cubicBezTo>
                    <a:pt x="162" y="141"/>
                    <a:pt x="167" y="136"/>
                    <a:pt x="167" y="130"/>
                  </a:cubicBezTo>
                  <a:cubicBezTo>
                    <a:pt x="167" y="95"/>
                    <a:pt x="167" y="95"/>
                    <a:pt x="167" y="95"/>
                  </a:cubicBezTo>
                  <a:cubicBezTo>
                    <a:pt x="167" y="91"/>
                    <a:pt x="164" y="88"/>
                    <a:pt x="161" y="86"/>
                  </a:cubicBezTo>
                  <a:cubicBezTo>
                    <a:pt x="84" y="47"/>
                    <a:pt x="84" y="47"/>
                    <a:pt x="84" y="47"/>
                  </a:cubicBezTo>
                  <a:cubicBezTo>
                    <a:pt x="85" y="40"/>
                    <a:pt x="85" y="33"/>
                    <a:pt x="83" y="26"/>
                  </a:cubicBezTo>
                  <a:cubicBezTo>
                    <a:pt x="79" y="16"/>
                    <a:pt x="72" y="8"/>
                    <a:pt x="62" y="4"/>
                  </a:cubicBezTo>
                  <a:cubicBezTo>
                    <a:pt x="57" y="1"/>
                    <a:pt x="51" y="0"/>
                    <a:pt x="45" y="0"/>
                  </a:cubicBezTo>
                  <a:cubicBezTo>
                    <a:pt x="30" y="0"/>
                    <a:pt x="16" y="9"/>
                    <a:pt x="9" y="22"/>
                  </a:cubicBezTo>
                  <a:cubicBezTo>
                    <a:pt x="0" y="42"/>
                    <a:pt x="8" y="66"/>
                    <a:pt x="28" y="75"/>
                  </a:cubicBezTo>
                  <a:close/>
                  <a:moveTo>
                    <a:pt x="28" y="31"/>
                  </a:moveTo>
                  <a:cubicBezTo>
                    <a:pt x="31" y="25"/>
                    <a:pt x="38" y="21"/>
                    <a:pt x="45" y="21"/>
                  </a:cubicBezTo>
                  <a:cubicBezTo>
                    <a:pt x="48" y="21"/>
                    <a:pt x="51" y="21"/>
                    <a:pt x="53" y="22"/>
                  </a:cubicBezTo>
                  <a:cubicBezTo>
                    <a:pt x="58" y="25"/>
                    <a:pt x="61" y="28"/>
                    <a:pt x="63" y="33"/>
                  </a:cubicBezTo>
                  <a:cubicBezTo>
                    <a:pt x="65" y="38"/>
                    <a:pt x="65" y="43"/>
                    <a:pt x="62" y="48"/>
                  </a:cubicBezTo>
                  <a:cubicBezTo>
                    <a:pt x="58" y="57"/>
                    <a:pt x="46" y="61"/>
                    <a:pt x="37" y="57"/>
                  </a:cubicBezTo>
                  <a:cubicBezTo>
                    <a:pt x="28" y="52"/>
                    <a:pt x="23" y="41"/>
                    <a:pt x="28" y="31"/>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8" name="Google Shape;1653;p66">
              <a:extLst>
                <a:ext uri="{FF2B5EF4-FFF2-40B4-BE49-F238E27FC236}">
                  <a16:creationId xmlns:a16="http://schemas.microsoft.com/office/drawing/2014/main" id="{0424F210-BAB7-DC00-837C-7F752DCFE255}"/>
                </a:ext>
              </a:extLst>
            </p:cNvPr>
            <p:cNvSpPr/>
            <p:nvPr/>
          </p:nvSpPr>
          <p:spPr>
            <a:xfrm>
              <a:off x="6638834" y="2840059"/>
              <a:ext cx="124988" cy="211186"/>
            </a:xfrm>
            <a:custGeom>
              <a:avLst/>
              <a:gdLst/>
              <a:ahLst/>
              <a:cxnLst/>
              <a:rect l="l" t="t" r="r" b="b"/>
              <a:pathLst>
                <a:path w="134" h="224" extrusionOk="0">
                  <a:moveTo>
                    <a:pt x="29" y="78"/>
                  </a:moveTo>
                  <a:cubicBezTo>
                    <a:pt x="29" y="115"/>
                    <a:pt x="29" y="115"/>
                    <a:pt x="29" y="115"/>
                  </a:cubicBezTo>
                  <a:cubicBezTo>
                    <a:pt x="29" y="119"/>
                    <a:pt x="31" y="123"/>
                    <a:pt x="35" y="124"/>
                  </a:cubicBezTo>
                  <a:cubicBezTo>
                    <a:pt x="114" y="164"/>
                    <a:pt x="114" y="164"/>
                    <a:pt x="114" y="164"/>
                  </a:cubicBezTo>
                  <a:cubicBezTo>
                    <a:pt x="114" y="214"/>
                    <a:pt x="114" y="214"/>
                    <a:pt x="114" y="214"/>
                  </a:cubicBezTo>
                  <a:cubicBezTo>
                    <a:pt x="114" y="220"/>
                    <a:pt x="118" y="224"/>
                    <a:pt x="124" y="224"/>
                  </a:cubicBezTo>
                  <a:cubicBezTo>
                    <a:pt x="130" y="224"/>
                    <a:pt x="134" y="220"/>
                    <a:pt x="134" y="214"/>
                  </a:cubicBezTo>
                  <a:cubicBezTo>
                    <a:pt x="134" y="158"/>
                    <a:pt x="134" y="158"/>
                    <a:pt x="134" y="158"/>
                  </a:cubicBezTo>
                  <a:cubicBezTo>
                    <a:pt x="134" y="154"/>
                    <a:pt x="132" y="151"/>
                    <a:pt x="129" y="149"/>
                  </a:cubicBezTo>
                  <a:cubicBezTo>
                    <a:pt x="50" y="109"/>
                    <a:pt x="50" y="109"/>
                    <a:pt x="50" y="109"/>
                  </a:cubicBezTo>
                  <a:cubicBezTo>
                    <a:pt x="50" y="78"/>
                    <a:pt x="50" y="78"/>
                    <a:pt x="50" y="78"/>
                  </a:cubicBezTo>
                  <a:cubicBezTo>
                    <a:pt x="67" y="73"/>
                    <a:pt x="79" y="58"/>
                    <a:pt x="79" y="40"/>
                  </a:cubicBezTo>
                  <a:cubicBezTo>
                    <a:pt x="79" y="18"/>
                    <a:pt x="62" y="0"/>
                    <a:pt x="40" y="0"/>
                  </a:cubicBezTo>
                  <a:cubicBezTo>
                    <a:pt x="18" y="0"/>
                    <a:pt x="0" y="18"/>
                    <a:pt x="0" y="40"/>
                  </a:cubicBezTo>
                  <a:cubicBezTo>
                    <a:pt x="0" y="58"/>
                    <a:pt x="12" y="73"/>
                    <a:pt x="29" y="78"/>
                  </a:cubicBezTo>
                  <a:close/>
                  <a:moveTo>
                    <a:pt x="40" y="21"/>
                  </a:moveTo>
                  <a:cubicBezTo>
                    <a:pt x="50" y="21"/>
                    <a:pt x="59" y="29"/>
                    <a:pt x="59" y="40"/>
                  </a:cubicBezTo>
                  <a:cubicBezTo>
                    <a:pt x="59" y="50"/>
                    <a:pt x="50" y="59"/>
                    <a:pt x="40" y="59"/>
                  </a:cubicBezTo>
                  <a:cubicBezTo>
                    <a:pt x="29" y="59"/>
                    <a:pt x="21" y="50"/>
                    <a:pt x="21" y="40"/>
                  </a:cubicBezTo>
                  <a:cubicBezTo>
                    <a:pt x="21" y="29"/>
                    <a:pt x="29" y="21"/>
                    <a:pt x="40" y="21"/>
                  </a:cubicBez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89" name="Google Shape;1654;p66">
              <a:extLst>
                <a:ext uri="{FF2B5EF4-FFF2-40B4-BE49-F238E27FC236}">
                  <a16:creationId xmlns:a16="http://schemas.microsoft.com/office/drawing/2014/main" id="{F84B46D1-6628-2143-7BDC-8D0213E71BAB}"/>
                </a:ext>
              </a:extLst>
            </p:cNvPr>
            <p:cNvSpPr/>
            <p:nvPr/>
          </p:nvSpPr>
          <p:spPr>
            <a:xfrm>
              <a:off x="6522467" y="3055549"/>
              <a:ext cx="560287" cy="301692"/>
            </a:xfrm>
            <a:custGeom>
              <a:avLst/>
              <a:gdLst/>
              <a:ahLst/>
              <a:cxnLst/>
              <a:rect l="l" t="t" r="r" b="b"/>
              <a:pathLst>
                <a:path w="602" h="320" extrusionOk="0">
                  <a:moveTo>
                    <a:pt x="474" y="108"/>
                  </a:moveTo>
                  <a:cubicBezTo>
                    <a:pt x="441" y="57"/>
                    <a:pt x="404" y="0"/>
                    <a:pt x="301" y="0"/>
                  </a:cubicBezTo>
                  <a:cubicBezTo>
                    <a:pt x="211" y="0"/>
                    <a:pt x="174" y="48"/>
                    <a:pt x="131" y="103"/>
                  </a:cubicBezTo>
                  <a:cubicBezTo>
                    <a:pt x="130" y="105"/>
                    <a:pt x="130" y="105"/>
                    <a:pt x="130" y="105"/>
                  </a:cubicBezTo>
                  <a:cubicBezTo>
                    <a:pt x="57" y="109"/>
                    <a:pt x="0" y="170"/>
                    <a:pt x="0" y="243"/>
                  </a:cubicBezTo>
                  <a:cubicBezTo>
                    <a:pt x="0" y="258"/>
                    <a:pt x="0" y="258"/>
                    <a:pt x="0" y="258"/>
                  </a:cubicBezTo>
                  <a:cubicBezTo>
                    <a:pt x="0" y="263"/>
                    <a:pt x="5" y="268"/>
                    <a:pt x="10" y="268"/>
                  </a:cubicBezTo>
                  <a:cubicBezTo>
                    <a:pt x="101" y="268"/>
                    <a:pt x="101" y="268"/>
                    <a:pt x="101" y="268"/>
                  </a:cubicBezTo>
                  <a:cubicBezTo>
                    <a:pt x="108" y="298"/>
                    <a:pt x="135" y="320"/>
                    <a:pt x="166" y="320"/>
                  </a:cubicBezTo>
                  <a:cubicBezTo>
                    <a:pt x="198" y="320"/>
                    <a:pt x="224" y="298"/>
                    <a:pt x="231" y="268"/>
                  </a:cubicBezTo>
                  <a:cubicBezTo>
                    <a:pt x="390" y="268"/>
                    <a:pt x="390" y="268"/>
                    <a:pt x="390" y="268"/>
                  </a:cubicBezTo>
                  <a:cubicBezTo>
                    <a:pt x="397" y="298"/>
                    <a:pt x="423" y="320"/>
                    <a:pt x="455" y="320"/>
                  </a:cubicBezTo>
                  <a:cubicBezTo>
                    <a:pt x="486" y="320"/>
                    <a:pt x="513" y="298"/>
                    <a:pt x="520" y="268"/>
                  </a:cubicBezTo>
                  <a:cubicBezTo>
                    <a:pt x="592" y="268"/>
                    <a:pt x="592" y="268"/>
                    <a:pt x="592" y="268"/>
                  </a:cubicBezTo>
                  <a:cubicBezTo>
                    <a:pt x="598" y="268"/>
                    <a:pt x="602" y="263"/>
                    <a:pt x="602" y="258"/>
                  </a:cubicBezTo>
                  <a:cubicBezTo>
                    <a:pt x="602" y="243"/>
                    <a:pt x="602" y="243"/>
                    <a:pt x="602" y="243"/>
                  </a:cubicBezTo>
                  <a:cubicBezTo>
                    <a:pt x="602" y="176"/>
                    <a:pt x="539" y="122"/>
                    <a:pt x="474" y="108"/>
                  </a:cubicBezTo>
                  <a:close/>
                  <a:moveTo>
                    <a:pt x="447" y="105"/>
                  </a:moveTo>
                  <a:cubicBezTo>
                    <a:pt x="445" y="105"/>
                    <a:pt x="443" y="105"/>
                    <a:pt x="442" y="105"/>
                  </a:cubicBezTo>
                  <a:cubicBezTo>
                    <a:pt x="321" y="105"/>
                    <a:pt x="321" y="105"/>
                    <a:pt x="321" y="105"/>
                  </a:cubicBezTo>
                  <a:cubicBezTo>
                    <a:pt x="321" y="21"/>
                    <a:pt x="321" y="21"/>
                    <a:pt x="321" y="21"/>
                  </a:cubicBezTo>
                  <a:cubicBezTo>
                    <a:pt x="385" y="27"/>
                    <a:pt x="416" y="59"/>
                    <a:pt x="447" y="105"/>
                  </a:cubicBezTo>
                  <a:close/>
                  <a:moveTo>
                    <a:pt x="300" y="20"/>
                  </a:moveTo>
                  <a:cubicBezTo>
                    <a:pt x="300" y="105"/>
                    <a:pt x="300" y="105"/>
                    <a:pt x="300" y="105"/>
                  </a:cubicBezTo>
                  <a:cubicBezTo>
                    <a:pt x="156" y="105"/>
                    <a:pt x="156" y="105"/>
                    <a:pt x="156" y="105"/>
                  </a:cubicBezTo>
                  <a:cubicBezTo>
                    <a:pt x="195" y="55"/>
                    <a:pt x="226" y="21"/>
                    <a:pt x="300" y="20"/>
                  </a:cubicBezTo>
                  <a:close/>
                  <a:moveTo>
                    <a:pt x="166" y="299"/>
                  </a:moveTo>
                  <a:cubicBezTo>
                    <a:pt x="141" y="299"/>
                    <a:pt x="120" y="279"/>
                    <a:pt x="120" y="253"/>
                  </a:cubicBezTo>
                  <a:cubicBezTo>
                    <a:pt x="120" y="228"/>
                    <a:pt x="141" y="207"/>
                    <a:pt x="166" y="207"/>
                  </a:cubicBezTo>
                  <a:cubicBezTo>
                    <a:pt x="191" y="207"/>
                    <a:pt x="212" y="228"/>
                    <a:pt x="212" y="253"/>
                  </a:cubicBezTo>
                  <a:cubicBezTo>
                    <a:pt x="212" y="279"/>
                    <a:pt x="191" y="299"/>
                    <a:pt x="166" y="299"/>
                  </a:cubicBezTo>
                  <a:close/>
                  <a:moveTo>
                    <a:pt x="455" y="299"/>
                  </a:moveTo>
                  <a:cubicBezTo>
                    <a:pt x="429" y="299"/>
                    <a:pt x="409" y="279"/>
                    <a:pt x="409" y="253"/>
                  </a:cubicBezTo>
                  <a:cubicBezTo>
                    <a:pt x="409" y="228"/>
                    <a:pt x="429" y="207"/>
                    <a:pt x="455" y="207"/>
                  </a:cubicBezTo>
                  <a:cubicBezTo>
                    <a:pt x="480" y="207"/>
                    <a:pt x="501" y="228"/>
                    <a:pt x="501" y="253"/>
                  </a:cubicBezTo>
                  <a:cubicBezTo>
                    <a:pt x="501" y="279"/>
                    <a:pt x="480" y="299"/>
                    <a:pt x="455" y="299"/>
                  </a:cubicBezTo>
                  <a:close/>
                  <a:moveTo>
                    <a:pt x="582" y="247"/>
                  </a:moveTo>
                  <a:cubicBezTo>
                    <a:pt x="521" y="247"/>
                    <a:pt x="521" y="247"/>
                    <a:pt x="521" y="247"/>
                  </a:cubicBezTo>
                  <a:cubicBezTo>
                    <a:pt x="518" y="213"/>
                    <a:pt x="489" y="187"/>
                    <a:pt x="455" y="187"/>
                  </a:cubicBezTo>
                  <a:cubicBezTo>
                    <a:pt x="420" y="187"/>
                    <a:pt x="392" y="213"/>
                    <a:pt x="389" y="247"/>
                  </a:cubicBezTo>
                  <a:cubicBezTo>
                    <a:pt x="232" y="247"/>
                    <a:pt x="232" y="247"/>
                    <a:pt x="232" y="247"/>
                  </a:cubicBezTo>
                  <a:cubicBezTo>
                    <a:pt x="229" y="213"/>
                    <a:pt x="201" y="187"/>
                    <a:pt x="166" y="187"/>
                  </a:cubicBezTo>
                  <a:cubicBezTo>
                    <a:pt x="132" y="187"/>
                    <a:pt x="103" y="213"/>
                    <a:pt x="100" y="247"/>
                  </a:cubicBezTo>
                  <a:cubicBezTo>
                    <a:pt x="21" y="247"/>
                    <a:pt x="21" y="247"/>
                    <a:pt x="21" y="247"/>
                  </a:cubicBezTo>
                  <a:cubicBezTo>
                    <a:pt x="21" y="243"/>
                    <a:pt x="21" y="243"/>
                    <a:pt x="21" y="243"/>
                  </a:cubicBezTo>
                  <a:cubicBezTo>
                    <a:pt x="21" y="178"/>
                    <a:pt x="73" y="125"/>
                    <a:pt x="138" y="125"/>
                  </a:cubicBezTo>
                  <a:cubicBezTo>
                    <a:pt x="442" y="125"/>
                    <a:pt x="442" y="125"/>
                    <a:pt x="442" y="125"/>
                  </a:cubicBezTo>
                  <a:cubicBezTo>
                    <a:pt x="505" y="125"/>
                    <a:pt x="582" y="178"/>
                    <a:pt x="582" y="243"/>
                  </a:cubicBezTo>
                  <a:lnTo>
                    <a:pt x="582" y="247"/>
                  </a:lnTo>
                  <a:close/>
                </a:path>
              </a:pathLst>
            </a:custGeom>
            <a:grpFill/>
            <a:ln w="6350">
              <a:solidFill>
                <a:schemeClr val="tx1"/>
              </a:solidFill>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grpSp>
      <p:pic>
        <p:nvPicPr>
          <p:cNvPr id="90" name="Graphic 89" descr="City with solid fill">
            <a:extLst>
              <a:ext uri="{FF2B5EF4-FFF2-40B4-BE49-F238E27FC236}">
                <a16:creationId xmlns:a16="http://schemas.microsoft.com/office/drawing/2014/main" id="{4133B072-2267-60AA-0963-670BC2A2FF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18992" y="2823219"/>
            <a:ext cx="344043" cy="358879"/>
          </a:xfrm>
          <a:prstGeom prst="rect">
            <a:avLst/>
          </a:prstGeom>
        </p:spPr>
      </p:pic>
      <p:pic>
        <p:nvPicPr>
          <p:cNvPr id="93" name="Graphic 92" descr="Bank with solid fill">
            <a:extLst>
              <a:ext uri="{FF2B5EF4-FFF2-40B4-BE49-F238E27FC236}">
                <a16:creationId xmlns:a16="http://schemas.microsoft.com/office/drawing/2014/main" id="{EDDDBE81-05A6-CB10-EBFF-F63092FAAA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5346" y="2503837"/>
            <a:ext cx="414969" cy="398969"/>
          </a:xfrm>
          <a:prstGeom prst="rect">
            <a:avLst/>
          </a:prstGeom>
          <a:effectLst/>
        </p:spPr>
      </p:pic>
      <p:sp>
        <p:nvSpPr>
          <p:cNvPr id="95" name="TextBox 94">
            <a:extLst>
              <a:ext uri="{FF2B5EF4-FFF2-40B4-BE49-F238E27FC236}">
                <a16:creationId xmlns:a16="http://schemas.microsoft.com/office/drawing/2014/main" id="{519FFB90-320F-3B91-FEB7-E09CF2056765}"/>
              </a:ext>
            </a:extLst>
          </p:cNvPr>
          <p:cNvSpPr txBox="1"/>
          <p:nvPr/>
        </p:nvSpPr>
        <p:spPr>
          <a:xfrm>
            <a:off x="9827355" y="2375902"/>
            <a:ext cx="921139"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LA</a:t>
            </a:r>
          </a:p>
        </p:txBody>
      </p:sp>
      <p:sp>
        <p:nvSpPr>
          <p:cNvPr id="96" name="TextBox 95">
            <a:extLst>
              <a:ext uri="{FF2B5EF4-FFF2-40B4-BE49-F238E27FC236}">
                <a16:creationId xmlns:a16="http://schemas.microsoft.com/office/drawing/2014/main" id="{C0C7D9C3-EF0B-D02F-D018-1F8CA18F3EE1}"/>
              </a:ext>
            </a:extLst>
          </p:cNvPr>
          <p:cNvSpPr txBox="1"/>
          <p:nvPr/>
        </p:nvSpPr>
        <p:spPr>
          <a:xfrm>
            <a:off x="9563766" y="3067796"/>
            <a:ext cx="921139"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SHP</a:t>
            </a:r>
          </a:p>
        </p:txBody>
      </p:sp>
      <p:sp>
        <p:nvSpPr>
          <p:cNvPr id="97" name="TextBox 96">
            <a:extLst>
              <a:ext uri="{FF2B5EF4-FFF2-40B4-BE49-F238E27FC236}">
                <a16:creationId xmlns:a16="http://schemas.microsoft.com/office/drawing/2014/main" id="{B3A4A83C-79F3-F24F-99C0-C6EEE134E488}"/>
              </a:ext>
            </a:extLst>
          </p:cNvPr>
          <p:cNvSpPr txBox="1"/>
          <p:nvPr/>
        </p:nvSpPr>
        <p:spPr>
          <a:xfrm>
            <a:off x="9919403" y="3065174"/>
            <a:ext cx="921139"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EMC</a:t>
            </a:r>
          </a:p>
        </p:txBody>
      </p:sp>
      <p:sp>
        <p:nvSpPr>
          <p:cNvPr id="99" name="Rectangle: Rounded Corners 98">
            <a:extLst>
              <a:ext uri="{FF2B5EF4-FFF2-40B4-BE49-F238E27FC236}">
                <a16:creationId xmlns:a16="http://schemas.microsoft.com/office/drawing/2014/main" id="{00577C7E-F749-877C-D85D-10A2F9A2ADE0}"/>
              </a:ext>
            </a:extLst>
          </p:cNvPr>
          <p:cNvSpPr/>
          <p:nvPr/>
        </p:nvSpPr>
        <p:spPr>
          <a:xfrm>
            <a:off x="9528008" y="2425779"/>
            <a:ext cx="921139" cy="947089"/>
          </a:xfrm>
          <a:prstGeom prst="roundRect">
            <a:avLst>
              <a:gd name="adj" fmla="val 35137"/>
            </a:avLst>
          </a:prstGeom>
          <a:solidFill>
            <a:srgbClr val="2A2A2A">
              <a:alpha val="1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pic>
        <p:nvPicPr>
          <p:cNvPr id="29" name="Graphic 28" descr="Electric Tower with solid fill">
            <a:extLst>
              <a:ext uri="{FF2B5EF4-FFF2-40B4-BE49-F238E27FC236}">
                <a16:creationId xmlns:a16="http://schemas.microsoft.com/office/drawing/2014/main" id="{720C7D1B-AD3F-E46D-CBDE-38036BB46E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85547" y="2523474"/>
            <a:ext cx="567489" cy="629267"/>
          </a:xfrm>
          <a:prstGeom prst="rect">
            <a:avLst/>
          </a:prstGeom>
          <a:effectLst>
            <a:glow rad="139700">
              <a:schemeClr val="accent2">
                <a:satMod val="175000"/>
                <a:alpha val="40000"/>
              </a:schemeClr>
            </a:glow>
          </a:effectLst>
        </p:spPr>
      </p:pic>
      <p:sp>
        <p:nvSpPr>
          <p:cNvPr id="41" name="TextBox 40">
            <a:extLst>
              <a:ext uri="{FF2B5EF4-FFF2-40B4-BE49-F238E27FC236}">
                <a16:creationId xmlns:a16="http://schemas.microsoft.com/office/drawing/2014/main" id="{D5E9073E-C8CC-ECA4-D8EC-8638C2BEC617}"/>
              </a:ext>
            </a:extLst>
          </p:cNvPr>
          <p:cNvSpPr txBox="1"/>
          <p:nvPr/>
        </p:nvSpPr>
        <p:spPr>
          <a:xfrm>
            <a:off x="8546866" y="3090564"/>
            <a:ext cx="1083968"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DSO</a:t>
            </a:r>
          </a:p>
        </p:txBody>
      </p:sp>
      <p:cxnSp>
        <p:nvCxnSpPr>
          <p:cNvPr id="42" name="Straight Arrow Connector 41">
            <a:extLst>
              <a:ext uri="{FF2B5EF4-FFF2-40B4-BE49-F238E27FC236}">
                <a16:creationId xmlns:a16="http://schemas.microsoft.com/office/drawing/2014/main" id="{1D2D945C-B79E-EF7C-3F5A-B8BA289DD694}"/>
              </a:ext>
            </a:extLst>
          </p:cNvPr>
          <p:cNvCxnSpPr>
            <a:cxnSpLocks/>
          </p:cNvCxnSpPr>
          <p:nvPr/>
        </p:nvCxnSpPr>
        <p:spPr>
          <a:xfrm flipV="1">
            <a:off x="9032395" y="2859829"/>
            <a:ext cx="480284" cy="6634"/>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5" name="Graphic 44" descr="Add outline">
            <a:extLst>
              <a:ext uri="{FF2B5EF4-FFF2-40B4-BE49-F238E27FC236}">
                <a16:creationId xmlns:a16="http://schemas.microsoft.com/office/drawing/2014/main" id="{D86DB7E3-91A2-743C-B690-3EF3786B874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228589" y="2989454"/>
            <a:ext cx="130311" cy="144497"/>
          </a:xfrm>
          <a:prstGeom prst="rect">
            <a:avLst/>
          </a:prstGeom>
        </p:spPr>
      </p:pic>
      <p:sp>
        <p:nvSpPr>
          <p:cNvPr id="111" name="TextBox 110">
            <a:extLst>
              <a:ext uri="{FF2B5EF4-FFF2-40B4-BE49-F238E27FC236}">
                <a16:creationId xmlns:a16="http://schemas.microsoft.com/office/drawing/2014/main" id="{0701FE73-FE21-A84C-D07A-E669D5F383E8}"/>
              </a:ext>
            </a:extLst>
          </p:cNvPr>
          <p:cNvSpPr txBox="1"/>
          <p:nvPr/>
        </p:nvSpPr>
        <p:spPr>
          <a:xfrm>
            <a:off x="990488" y="3549914"/>
            <a:ext cx="3033314" cy="1785104"/>
          </a:xfrm>
          <a:prstGeom prst="rect">
            <a:avLst/>
          </a:prstGeom>
          <a:noFill/>
        </p:spPr>
        <p:txBody>
          <a:bodyPr wrap="square" rtlCol="0">
            <a:spAutoFit/>
          </a:bodyPr>
          <a:lstStyle/>
          <a:p>
            <a:pPr marL="36000" indent="-36000">
              <a:buFont typeface="Arial" panose="020B0604020202020204" pitchFamily="34" charset="0"/>
              <a:buChar char="•"/>
            </a:pPr>
            <a:r>
              <a:rPr lang="en-GB" sz="1100">
                <a:latin typeface="Arial" panose="020B0604020202020204" pitchFamily="34" charset="0"/>
                <a:cs typeface="Arial" panose="020B0604020202020204" pitchFamily="34" charset="0"/>
              </a:rPr>
              <a:t> Minor adjustments to current Sustain flexibility process to encourage further participation from Local Authorities and Social Housing Providers. </a:t>
            </a:r>
          </a:p>
          <a:p>
            <a:pPr marL="36000" indent="-36000">
              <a:buFont typeface="Arial" panose="020B0604020202020204" pitchFamily="34" charset="0"/>
              <a:buChar char="•"/>
            </a:pPr>
            <a:r>
              <a:rPr lang="en-GB" sz="1100">
                <a:latin typeface="Arial" panose="020B0604020202020204" pitchFamily="34" charset="0"/>
                <a:cs typeface="Arial" panose="020B0604020202020204" pitchFamily="34" charset="0"/>
              </a:rPr>
              <a:t> Flexibility Aggregator is key party responsible </a:t>
            </a:r>
          </a:p>
          <a:p>
            <a:pPr marL="36000" indent="-36000">
              <a:buFont typeface="Arial" panose="020B0604020202020204" pitchFamily="34" charset="0"/>
              <a:buChar char="•"/>
            </a:pPr>
            <a:r>
              <a:rPr lang="en-GB" sz="1100">
                <a:latin typeface="Arial" panose="020B0604020202020204" pitchFamily="34" charset="0"/>
                <a:cs typeface="Arial" panose="020B0604020202020204" pitchFamily="34" charset="0"/>
              </a:rPr>
              <a:t> Activities include: increased marketing, longer contracts, alternative baseline approaches and amended competition timelines.</a:t>
            </a:r>
          </a:p>
        </p:txBody>
      </p:sp>
      <p:pic>
        <p:nvPicPr>
          <p:cNvPr id="112" name="Graphic 111" descr="Bank with solid fill">
            <a:extLst>
              <a:ext uri="{FF2B5EF4-FFF2-40B4-BE49-F238E27FC236}">
                <a16:creationId xmlns:a16="http://schemas.microsoft.com/office/drawing/2014/main" id="{42A37EBC-4919-CDB5-58E1-613D844C329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131254" y="2650781"/>
            <a:ext cx="358830" cy="397892"/>
          </a:xfrm>
          <a:prstGeom prst="rect">
            <a:avLst/>
          </a:prstGeom>
          <a:effectLst/>
        </p:spPr>
      </p:pic>
      <p:sp>
        <p:nvSpPr>
          <p:cNvPr id="113" name="TextBox 112">
            <a:extLst>
              <a:ext uri="{FF2B5EF4-FFF2-40B4-BE49-F238E27FC236}">
                <a16:creationId xmlns:a16="http://schemas.microsoft.com/office/drawing/2014/main" id="{703E3869-077F-E4FA-A89B-B6CAC78348D2}"/>
              </a:ext>
            </a:extLst>
          </p:cNvPr>
          <p:cNvSpPr txBox="1"/>
          <p:nvPr/>
        </p:nvSpPr>
        <p:spPr>
          <a:xfrm>
            <a:off x="3152125" y="2951266"/>
            <a:ext cx="1083968" cy="230832"/>
          </a:xfrm>
          <a:prstGeom prst="rect">
            <a:avLst/>
          </a:prstGeom>
          <a:noFill/>
        </p:spPr>
        <p:txBody>
          <a:bodyPr wrap="square" rtlCol="0">
            <a:spAutoFit/>
          </a:bodyPr>
          <a:lstStyle/>
          <a:p>
            <a:r>
              <a:rPr lang="en-GB" sz="900" b="1" i="1">
                <a:solidFill>
                  <a:schemeClr val="bg1">
                    <a:lumMod val="50000"/>
                  </a:schemeClr>
                </a:solidFill>
                <a:latin typeface="Arial" panose="020B0604020202020204" pitchFamily="34" charset="0"/>
                <a:cs typeface="Arial" panose="020B0604020202020204" pitchFamily="34" charset="0"/>
              </a:rPr>
              <a:t>LA</a:t>
            </a:r>
          </a:p>
        </p:txBody>
      </p:sp>
      <p:sp>
        <p:nvSpPr>
          <p:cNvPr id="114" name="TextBox 113">
            <a:extLst>
              <a:ext uri="{FF2B5EF4-FFF2-40B4-BE49-F238E27FC236}">
                <a16:creationId xmlns:a16="http://schemas.microsoft.com/office/drawing/2014/main" id="{9D2EFE72-C770-88D9-A4C5-E6889E143F14}"/>
              </a:ext>
            </a:extLst>
          </p:cNvPr>
          <p:cNvSpPr txBox="1"/>
          <p:nvPr/>
        </p:nvSpPr>
        <p:spPr>
          <a:xfrm>
            <a:off x="2072826" y="5385297"/>
            <a:ext cx="1558381" cy="276999"/>
          </a:xfrm>
          <a:prstGeom prst="rect">
            <a:avLst/>
          </a:prstGeom>
          <a:noFill/>
        </p:spPr>
        <p:txBody>
          <a:bodyPr wrap="square" rtlCol="0">
            <a:spAutoFit/>
          </a:bodyPr>
          <a:lstStyle/>
          <a:p>
            <a:r>
              <a:rPr lang="en-GB" sz="1200" b="1" dirty="0">
                <a:solidFill>
                  <a:srgbClr val="79111B"/>
                </a:solidFill>
                <a:latin typeface="Arial" panose="020B0604020202020204" pitchFamily="34" charset="0"/>
                <a:cs typeface="Arial" panose="020B0604020202020204" pitchFamily="34" charset="0"/>
              </a:rPr>
              <a:t>Score</a:t>
            </a:r>
          </a:p>
        </p:txBody>
      </p:sp>
      <p:sp>
        <p:nvSpPr>
          <p:cNvPr id="115" name="TextBox 114">
            <a:extLst>
              <a:ext uri="{FF2B5EF4-FFF2-40B4-BE49-F238E27FC236}">
                <a16:creationId xmlns:a16="http://schemas.microsoft.com/office/drawing/2014/main" id="{D8281BA8-220D-F756-599A-9BD2A074B0A8}"/>
              </a:ext>
            </a:extLst>
          </p:cNvPr>
          <p:cNvSpPr txBox="1"/>
          <p:nvPr/>
        </p:nvSpPr>
        <p:spPr>
          <a:xfrm>
            <a:off x="840742" y="5578821"/>
            <a:ext cx="2975310"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Alignment to DSO / RIIO- ED2 requirements: </a:t>
            </a:r>
          </a:p>
        </p:txBody>
      </p:sp>
      <p:sp>
        <p:nvSpPr>
          <p:cNvPr id="116" name="TextBox 115">
            <a:extLst>
              <a:ext uri="{FF2B5EF4-FFF2-40B4-BE49-F238E27FC236}">
                <a16:creationId xmlns:a16="http://schemas.microsoft.com/office/drawing/2014/main" id="{0531BB58-1DBA-0BFB-42A1-9AFA6B722608}"/>
              </a:ext>
            </a:extLst>
          </p:cNvPr>
          <p:cNvSpPr txBox="1"/>
          <p:nvPr/>
        </p:nvSpPr>
        <p:spPr>
          <a:xfrm>
            <a:off x="826650" y="6067965"/>
            <a:ext cx="2758216"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Risk (to delivery and competition):</a:t>
            </a:r>
          </a:p>
        </p:txBody>
      </p:sp>
      <p:sp>
        <p:nvSpPr>
          <p:cNvPr id="117" name="TextBox 116">
            <a:extLst>
              <a:ext uri="{FF2B5EF4-FFF2-40B4-BE49-F238E27FC236}">
                <a16:creationId xmlns:a16="http://schemas.microsoft.com/office/drawing/2014/main" id="{7AE63A0F-3AAB-E0BB-6D18-A54090306C25}"/>
              </a:ext>
            </a:extLst>
          </p:cNvPr>
          <p:cNvSpPr txBox="1"/>
          <p:nvPr/>
        </p:nvSpPr>
        <p:spPr>
          <a:xfrm>
            <a:off x="836446" y="5910386"/>
            <a:ext cx="2680461"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Complexity to Deliver (time and cost):</a:t>
            </a:r>
          </a:p>
        </p:txBody>
      </p:sp>
      <p:sp>
        <p:nvSpPr>
          <p:cNvPr id="118" name="TextBox 117">
            <a:extLst>
              <a:ext uri="{FF2B5EF4-FFF2-40B4-BE49-F238E27FC236}">
                <a16:creationId xmlns:a16="http://schemas.microsoft.com/office/drawing/2014/main" id="{541A5DFD-4DD9-BFCE-4A1B-B448CE72254C}"/>
              </a:ext>
            </a:extLst>
          </p:cNvPr>
          <p:cNvSpPr txBox="1"/>
          <p:nvPr/>
        </p:nvSpPr>
        <p:spPr>
          <a:xfrm>
            <a:off x="837857" y="5745083"/>
            <a:ext cx="2481549"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Impact (benefit and scalability): </a:t>
            </a:r>
          </a:p>
        </p:txBody>
      </p:sp>
      <p:sp>
        <p:nvSpPr>
          <p:cNvPr id="120" name="Rectangle 119">
            <a:extLst>
              <a:ext uri="{FF2B5EF4-FFF2-40B4-BE49-F238E27FC236}">
                <a16:creationId xmlns:a16="http://schemas.microsoft.com/office/drawing/2014/main" id="{FB85E852-F3FC-46B6-7A8D-EF4057014794}"/>
              </a:ext>
            </a:extLst>
          </p:cNvPr>
          <p:cNvSpPr/>
          <p:nvPr/>
        </p:nvSpPr>
        <p:spPr>
          <a:xfrm>
            <a:off x="3588406" y="5647152"/>
            <a:ext cx="386990" cy="11493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500" dirty="0">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C4744212-BA6B-7AE0-3411-55B554ACD49D}"/>
              </a:ext>
            </a:extLst>
          </p:cNvPr>
          <p:cNvSpPr/>
          <p:nvPr/>
        </p:nvSpPr>
        <p:spPr>
          <a:xfrm>
            <a:off x="3588406" y="5812454"/>
            <a:ext cx="386990" cy="114938"/>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2" name="Rectangle 121">
            <a:extLst>
              <a:ext uri="{FF2B5EF4-FFF2-40B4-BE49-F238E27FC236}">
                <a16:creationId xmlns:a16="http://schemas.microsoft.com/office/drawing/2014/main" id="{CE6FD03F-C3DD-478A-5D56-F4CB4040514F}"/>
              </a:ext>
            </a:extLst>
          </p:cNvPr>
          <p:cNvSpPr/>
          <p:nvPr/>
        </p:nvSpPr>
        <p:spPr>
          <a:xfrm>
            <a:off x="3588406" y="5977756"/>
            <a:ext cx="386990" cy="114938"/>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3" name="Rectangle 122">
            <a:extLst>
              <a:ext uri="{FF2B5EF4-FFF2-40B4-BE49-F238E27FC236}">
                <a16:creationId xmlns:a16="http://schemas.microsoft.com/office/drawing/2014/main" id="{9DCB5E6D-7ABE-402A-AEE7-4E2D1985788E}"/>
              </a:ext>
            </a:extLst>
          </p:cNvPr>
          <p:cNvSpPr/>
          <p:nvPr/>
        </p:nvSpPr>
        <p:spPr>
          <a:xfrm>
            <a:off x="3588406" y="6143058"/>
            <a:ext cx="386990" cy="11493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82983B3B-7BC5-FC54-1CE2-7EC97F0BD391}"/>
              </a:ext>
            </a:extLst>
          </p:cNvPr>
          <p:cNvSpPr txBox="1"/>
          <p:nvPr/>
        </p:nvSpPr>
        <p:spPr>
          <a:xfrm>
            <a:off x="5620849" y="5402302"/>
            <a:ext cx="1558381" cy="276999"/>
          </a:xfrm>
          <a:prstGeom prst="rect">
            <a:avLst/>
          </a:prstGeom>
          <a:noFill/>
        </p:spPr>
        <p:txBody>
          <a:bodyPr wrap="square" rtlCol="0">
            <a:spAutoFit/>
          </a:bodyPr>
          <a:lstStyle/>
          <a:p>
            <a:r>
              <a:rPr lang="en-GB" sz="1200" b="1">
                <a:solidFill>
                  <a:srgbClr val="79111B"/>
                </a:solidFill>
                <a:latin typeface="Arial" panose="020B0604020202020204" pitchFamily="34" charset="0"/>
                <a:cs typeface="Arial" panose="020B0604020202020204" pitchFamily="34" charset="0"/>
              </a:rPr>
              <a:t>Score</a:t>
            </a:r>
          </a:p>
        </p:txBody>
      </p:sp>
      <p:sp>
        <p:nvSpPr>
          <p:cNvPr id="133" name="Rectangle 132">
            <a:extLst>
              <a:ext uri="{FF2B5EF4-FFF2-40B4-BE49-F238E27FC236}">
                <a16:creationId xmlns:a16="http://schemas.microsoft.com/office/drawing/2014/main" id="{110C8FF2-13F7-1FC6-A111-6D278A7B377B}"/>
              </a:ext>
            </a:extLst>
          </p:cNvPr>
          <p:cNvSpPr/>
          <p:nvPr/>
        </p:nvSpPr>
        <p:spPr>
          <a:xfrm>
            <a:off x="7155479" y="5664156"/>
            <a:ext cx="397562" cy="132197"/>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34" name="Rectangle 133">
            <a:extLst>
              <a:ext uri="{FF2B5EF4-FFF2-40B4-BE49-F238E27FC236}">
                <a16:creationId xmlns:a16="http://schemas.microsoft.com/office/drawing/2014/main" id="{263DBBDC-2033-1308-7EDD-98FBC8931410}"/>
              </a:ext>
            </a:extLst>
          </p:cNvPr>
          <p:cNvSpPr/>
          <p:nvPr/>
        </p:nvSpPr>
        <p:spPr>
          <a:xfrm>
            <a:off x="7155479" y="5829458"/>
            <a:ext cx="397562" cy="132197"/>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35" name="Rectangle 134">
            <a:extLst>
              <a:ext uri="{FF2B5EF4-FFF2-40B4-BE49-F238E27FC236}">
                <a16:creationId xmlns:a16="http://schemas.microsoft.com/office/drawing/2014/main" id="{62BDBF5B-5D21-6961-577D-64D952866508}"/>
              </a:ext>
            </a:extLst>
          </p:cNvPr>
          <p:cNvSpPr/>
          <p:nvPr/>
        </p:nvSpPr>
        <p:spPr>
          <a:xfrm>
            <a:off x="7155479" y="5994760"/>
            <a:ext cx="397562" cy="13219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9F98E596-8112-8898-00CE-A385249537F7}"/>
              </a:ext>
            </a:extLst>
          </p:cNvPr>
          <p:cNvSpPr/>
          <p:nvPr/>
        </p:nvSpPr>
        <p:spPr>
          <a:xfrm>
            <a:off x="7155479" y="6160062"/>
            <a:ext cx="397562" cy="13219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C9385FB8-E04F-9F74-3FB4-2FA506E5F4CA}"/>
              </a:ext>
            </a:extLst>
          </p:cNvPr>
          <p:cNvSpPr txBox="1"/>
          <p:nvPr/>
        </p:nvSpPr>
        <p:spPr>
          <a:xfrm>
            <a:off x="9062971" y="5402302"/>
            <a:ext cx="1558381" cy="276999"/>
          </a:xfrm>
          <a:prstGeom prst="rect">
            <a:avLst/>
          </a:prstGeom>
          <a:noFill/>
        </p:spPr>
        <p:txBody>
          <a:bodyPr wrap="square" rtlCol="0">
            <a:spAutoFit/>
          </a:bodyPr>
          <a:lstStyle/>
          <a:p>
            <a:r>
              <a:rPr lang="en-GB" sz="1200" b="1">
                <a:solidFill>
                  <a:srgbClr val="79111B"/>
                </a:solidFill>
                <a:latin typeface="Arial" panose="020B0604020202020204" pitchFamily="34" charset="0"/>
                <a:cs typeface="Arial" panose="020B0604020202020204" pitchFamily="34" charset="0"/>
              </a:rPr>
              <a:t>Score</a:t>
            </a:r>
          </a:p>
        </p:txBody>
      </p:sp>
      <p:sp>
        <p:nvSpPr>
          <p:cNvPr id="144" name="Rectangle 143">
            <a:extLst>
              <a:ext uri="{FF2B5EF4-FFF2-40B4-BE49-F238E27FC236}">
                <a16:creationId xmlns:a16="http://schemas.microsoft.com/office/drawing/2014/main" id="{ED77153E-6C63-9C49-952E-ECE86321E3F6}"/>
              </a:ext>
            </a:extLst>
          </p:cNvPr>
          <p:cNvSpPr/>
          <p:nvPr/>
        </p:nvSpPr>
        <p:spPr>
          <a:xfrm>
            <a:off x="10578551" y="5664156"/>
            <a:ext cx="385816" cy="132197"/>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5" name="Rectangle 144">
            <a:extLst>
              <a:ext uri="{FF2B5EF4-FFF2-40B4-BE49-F238E27FC236}">
                <a16:creationId xmlns:a16="http://schemas.microsoft.com/office/drawing/2014/main" id="{BB7A388C-9134-58B4-28B0-7556222ACF3D}"/>
              </a:ext>
            </a:extLst>
          </p:cNvPr>
          <p:cNvSpPr/>
          <p:nvPr/>
        </p:nvSpPr>
        <p:spPr>
          <a:xfrm>
            <a:off x="10578551" y="5829458"/>
            <a:ext cx="385816" cy="132197"/>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E75CE966-D8A9-EB97-757F-03E868919028}"/>
              </a:ext>
            </a:extLst>
          </p:cNvPr>
          <p:cNvSpPr/>
          <p:nvPr/>
        </p:nvSpPr>
        <p:spPr>
          <a:xfrm>
            <a:off x="10578551" y="5994760"/>
            <a:ext cx="385816" cy="13219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AEEAE67A-1F9B-4D4E-E1B5-FC9C00B32462}"/>
              </a:ext>
            </a:extLst>
          </p:cNvPr>
          <p:cNvSpPr/>
          <p:nvPr/>
        </p:nvSpPr>
        <p:spPr>
          <a:xfrm>
            <a:off x="10578551" y="6160062"/>
            <a:ext cx="385816" cy="13219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8" name="TextBox 147">
            <a:extLst>
              <a:ext uri="{FF2B5EF4-FFF2-40B4-BE49-F238E27FC236}">
                <a16:creationId xmlns:a16="http://schemas.microsoft.com/office/drawing/2014/main" id="{E165EF45-F2F2-2FB9-A3A6-08E433A95403}"/>
              </a:ext>
            </a:extLst>
          </p:cNvPr>
          <p:cNvSpPr txBox="1"/>
          <p:nvPr/>
        </p:nvSpPr>
        <p:spPr>
          <a:xfrm>
            <a:off x="4454221" y="3542060"/>
            <a:ext cx="3033314" cy="1615827"/>
          </a:xfrm>
          <a:prstGeom prst="rect">
            <a:avLst/>
          </a:prstGeom>
          <a:noFill/>
        </p:spPr>
        <p:txBody>
          <a:bodyPr wrap="square" lIns="91440" tIns="45720" rIns="91440" bIns="45720" rtlCol="0" anchor="t">
            <a:spAutoFit/>
          </a:bodyPr>
          <a:lstStyle/>
          <a:p>
            <a:pPr marL="35560" indent="-35560">
              <a:buFont typeface="Arial" panose="020B0604020202020204" pitchFamily="34" charset="0"/>
              <a:buChar char="•"/>
            </a:pPr>
            <a:r>
              <a:rPr lang="en-GB" sz="1100">
                <a:latin typeface="Arial" panose="020B0604020202020204" pitchFamily="34" charset="0"/>
                <a:cs typeface="Arial" panose="020B0604020202020204" pitchFamily="34" charset="0"/>
              </a:rPr>
              <a:t> Direct procurement from Local Authorities, adapting processes to engage more participants driven by service improvement</a:t>
            </a:r>
            <a:endParaRPr lang="en-US" sz="1600">
              <a:latin typeface="Arial" panose="020B0604020202020204" pitchFamily="34" charset="0"/>
              <a:cs typeface="Arial" panose="020B0604020202020204" pitchFamily="34" charset="0"/>
            </a:endParaRPr>
          </a:p>
          <a:p>
            <a:pPr marL="35560" indent="-35560">
              <a:buFont typeface="Arial" panose="020B0604020202020204" pitchFamily="34" charset="0"/>
              <a:buChar char="•"/>
            </a:pPr>
            <a:r>
              <a:rPr lang="en-GB" sz="1100">
                <a:latin typeface="Arial" panose="020B0604020202020204" pitchFamily="34" charset="0"/>
                <a:cs typeface="Arial" panose="020B0604020202020204" pitchFamily="34" charset="0"/>
              </a:rPr>
              <a:t> Local Authority is key party responsible </a:t>
            </a:r>
            <a:endParaRPr lang="en-GB" sz="1100">
              <a:latin typeface="Arial" panose="020B0604020202020204" pitchFamily="34" charset="0"/>
              <a:ea typeface="Calibri"/>
              <a:cs typeface="Arial" panose="020B0604020202020204" pitchFamily="34" charset="0"/>
            </a:endParaRPr>
          </a:p>
          <a:p>
            <a:pPr marL="35560" indent="-35560">
              <a:buFont typeface="Arial" panose="020B0604020202020204" pitchFamily="34" charset="0"/>
              <a:buChar char="•"/>
            </a:pPr>
            <a:r>
              <a:rPr lang="en-GB" sz="1100">
                <a:latin typeface="Arial" panose="020B0604020202020204" pitchFamily="34" charset="0"/>
                <a:cs typeface="Arial" panose="020B0604020202020204" pitchFamily="34" charset="0"/>
              </a:rPr>
              <a:t> Activities include: (addition to Option 1 activities) in-depth support and engagement with LAs to upskill and determine incentive levels,  contractual clauses amendments regarding under-utilisation.</a:t>
            </a:r>
            <a:endParaRPr lang="en-GB" sz="1100">
              <a:latin typeface="Arial" panose="020B0604020202020204" pitchFamily="34" charset="0"/>
              <a:ea typeface="Calibri"/>
              <a:cs typeface="Arial" panose="020B0604020202020204" pitchFamily="34" charset="0"/>
            </a:endParaRPr>
          </a:p>
        </p:txBody>
      </p:sp>
      <p:sp>
        <p:nvSpPr>
          <p:cNvPr id="149" name="TextBox 148">
            <a:extLst>
              <a:ext uri="{FF2B5EF4-FFF2-40B4-BE49-F238E27FC236}">
                <a16:creationId xmlns:a16="http://schemas.microsoft.com/office/drawing/2014/main" id="{D738EAC9-F39D-8F01-411D-6BB63ED6FEC8}"/>
              </a:ext>
            </a:extLst>
          </p:cNvPr>
          <p:cNvSpPr txBox="1"/>
          <p:nvPr/>
        </p:nvSpPr>
        <p:spPr>
          <a:xfrm>
            <a:off x="7922698" y="3529155"/>
            <a:ext cx="3033314" cy="1615827"/>
          </a:xfrm>
          <a:prstGeom prst="rect">
            <a:avLst/>
          </a:prstGeom>
          <a:noFill/>
        </p:spPr>
        <p:txBody>
          <a:bodyPr wrap="square" rtlCol="0">
            <a:spAutoFit/>
          </a:bodyPr>
          <a:lstStyle/>
          <a:p>
            <a:pPr marL="36000" indent="-36000">
              <a:buFont typeface="Arial" panose="020B0604020202020204" pitchFamily="34" charset="0"/>
              <a:buChar char="•"/>
            </a:pPr>
            <a:r>
              <a:rPr lang="en-GB" sz="1100">
                <a:latin typeface="Arial" panose="020B0604020202020204" pitchFamily="34" charset="0"/>
                <a:cs typeface="Arial" panose="020B0604020202020204" pitchFamily="34" charset="0"/>
              </a:rPr>
              <a:t> Direct procurement with private stakeholder support, emphasizing commercial viability and scalability through increased costs and expertise.</a:t>
            </a:r>
          </a:p>
          <a:p>
            <a:pPr marL="36000" indent="-36000">
              <a:buFont typeface="Arial" panose="020B0604020202020204" pitchFamily="34" charset="0"/>
              <a:buChar char="•"/>
            </a:pPr>
            <a:r>
              <a:rPr lang="en-GB" sz="1100">
                <a:latin typeface="Arial" panose="020B0604020202020204" pitchFamily="34" charset="0"/>
                <a:cs typeface="Arial" panose="020B0604020202020204" pitchFamily="34" charset="0"/>
              </a:rPr>
              <a:t> Activities include: (addition to Option 1 activities) some upskilling support, reviewing of service fees, contractual clauses amendments regarding under-utilisation, sub-contracting and governance</a:t>
            </a:r>
          </a:p>
        </p:txBody>
      </p:sp>
      <p:grpSp>
        <p:nvGrpSpPr>
          <p:cNvPr id="153" name="Group 152">
            <a:extLst>
              <a:ext uri="{FF2B5EF4-FFF2-40B4-BE49-F238E27FC236}">
                <a16:creationId xmlns:a16="http://schemas.microsoft.com/office/drawing/2014/main" id="{037E4CED-6592-E24B-546D-6C22084A631F}"/>
              </a:ext>
            </a:extLst>
          </p:cNvPr>
          <p:cNvGrpSpPr/>
          <p:nvPr/>
        </p:nvGrpSpPr>
        <p:grpSpPr>
          <a:xfrm>
            <a:off x="5122369" y="2545196"/>
            <a:ext cx="1145287" cy="813311"/>
            <a:chOff x="5184246" y="2575328"/>
            <a:chExt cx="1145287" cy="813311"/>
          </a:xfrm>
        </p:grpSpPr>
        <p:pic>
          <p:nvPicPr>
            <p:cNvPr id="151" name="Graphic 150" descr="Electric Tower with solid fill">
              <a:extLst>
                <a:ext uri="{FF2B5EF4-FFF2-40B4-BE49-F238E27FC236}">
                  <a16:creationId xmlns:a16="http://schemas.microsoft.com/office/drawing/2014/main" id="{72AB070B-656E-E0E0-CCE4-F63E1F9751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84246" y="2575328"/>
              <a:ext cx="567489" cy="629267"/>
            </a:xfrm>
            <a:prstGeom prst="rect">
              <a:avLst/>
            </a:prstGeom>
            <a:effectLst>
              <a:glow rad="139700">
                <a:schemeClr val="accent2">
                  <a:satMod val="175000"/>
                  <a:alpha val="40000"/>
                </a:schemeClr>
              </a:glow>
            </a:effectLst>
          </p:spPr>
        </p:pic>
        <p:sp>
          <p:nvSpPr>
            <p:cNvPr id="152" name="TextBox 151">
              <a:extLst>
                <a:ext uri="{FF2B5EF4-FFF2-40B4-BE49-F238E27FC236}">
                  <a16:creationId xmlns:a16="http://schemas.microsoft.com/office/drawing/2014/main" id="{FBA2593D-5B00-8FA0-05F6-9736EE03D12F}"/>
                </a:ext>
              </a:extLst>
            </p:cNvPr>
            <p:cNvSpPr txBox="1"/>
            <p:nvPr/>
          </p:nvSpPr>
          <p:spPr>
            <a:xfrm>
              <a:off x="5245565" y="3142418"/>
              <a:ext cx="1083968"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DSO</a:t>
              </a:r>
            </a:p>
          </p:txBody>
        </p:sp>
      </p:grpSp>
      <p:grpSp>
        <p:nvGrpSpPr>
          <p:cNvPr id="156" name="Group 155">
            <a:extLst>
              <a:ext uri="{FF2B5EF4-FFF2-40B4-BE49-F238E27FC236}">
                <a16:creationId xmlns:a16="http://schemas.microsoft.com/office/drawing/2014/main" id="{243C3F4C-4B1C-400D-424B-599E50665031}"/>
              </a:ext>
            </a:extLst>
          </p:cNvPr>
          <p:cNvGrpSpPr/>
          <p:nvPr/>
        </p:nvGrpSpPr>
        <p:grpSpPr>
          <a:xfrm>
            <a:off x="1576021" y="2579747"/>
            <a:ext cx="1145287" cy="813311"/>
            <a:chOff x="8699824" y="2706006"/>
            <a:chExt cx="1145287" cy="813311"/>
          </a:xfrm>
        </p:grpSpPr>
        <p:pic>
          <p:nvPicPr>
            <p:cNvPr id="154" name="Graphic 153" descr="Electric Tower with solid fill">
              <a:extLst>
                <a:ext uri="{FF2B5EF4-FFF2-40B4-BE49-F238E27FC236}">
                  <a16:creationId xmlns:a16="http://schemas.microsoft.com/office/drawing/2014/main" id="{A74DE5BC-FD89-3B6A-492E-12BCD01D2B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99824" y="2706006"/>
              <a:ext cx="567489" cy="629267"/>
            </a:xfrm>
            <a:prstGeom prst="rect">
              <a:avLst/>
            </a:prstGeom>
            <a:effectLst>
              <a:glow rad="139700">
                <a:schemeClr val="accent2">
                  <a:satMod val="175000"/>
                  <a:alpha val="40000"/>
                </a:schemeClr>
              </a:glow>
            </a:effectLst>
          </p:spPr>
        </p:pic>
        <p:sp>
          <p:nvSpPr>
            <p:cNvPr id="155" name="TextBox 154">
              <a:extLst>
                <a:ext uri="{FF2B5EF4-FFF2-40B4-BE49-F238E27FC236}">
                  <a16:creationId xmlns:a16="http://schemas.microsoft.com/office/drawing/2014/main" id="{C5A7FFE7-A43C-C307-F858-83DC5415EAB9}"/>
                </a:ext>
              </a:extLst>
            </p:cNvPr>
            <p:cNvSpPr txBox="1"/>
            <p:nvPr/>
          </p:nvSpPr>
          <p:spPr>
            <a:xfrm>
              <a:off x="8761143" y="3273096"/>
              <a:ext cx="1083968" cy="246221"/>
            </a:xfrm>
            <a:prstGeom prst="rect">
              <a:avLst/>
            </a:prstGeom>
            <a:noFill/>
          </p:spPr>
          <p:txBody>
            <a:bodyPr wrap="square" rtlCol="0">
              <a:spAutoFit/>
            </a:bodyPr>
            <a:lstStyle/>
            <a:p>
              <a:r>
                <a:rPr lang="en-GB" sz="1000" b="1" i="1">
                  <a:latin typeface="Arial" panose="020B0604020202020204" pitchFamily="34" charset="0"/>
                  <a:cs typeface="Arial" panose="020B0604020202020204" pitchFamily="34" charset="0"/>
                </a:rPr>
                <a:t>DSO</a:t>
              </a:r>
            </a:p>
          </p:txBody>
        </p:sp>
      </p:grpSp>
      <p:grpSp>
        <p:nvGrpSpPr>
          <p:cNvPr id="160" name="Group 159">
            <a:extLst>
              <a:ext uri="{FF2B5EF4-FFF2-40B4-BE49-F238E27FC236}">
                <a16:creationId xmlns:a16="http://schemas.microsoft.com/office/drawing/2014/main" id="{91DB56EC-EC01-D608-9868-2B46B1946BF2}"/>
              </a:ext>
            </a:extLst>
          </p:cNvPr>
          <p:cNvGrpSpPr/>
          <p:nvPr/>
        </p:nvGrpSpPr>
        <p:grpSpPr>
          <a:xfrm>
            <a:off x="2728299" y="2749194"/>
            <a:ext cx="384417" cy="312733"/>
            <a:chOff x="7944812" y="1992424"/>
            <a:chExt cx="384417" cy="312733"/>
          </a:xfrm>
        </p:grpSpPr>
        <p:sp>
          <p:nvSpPr>
            <p:cNvPr id="161" name="Google Shape;2416;p68">
              <a:extLst>
                <a:ext uri="{FF2B5EF4-FFF2-40B4-BE49-F238E27FC236}">
                  <a16:creationId xmlns:a16="http://schemas.microsoft.com/office/drawing/2014/main" id="{575DEE49-188D-C0BE-D327-31F9CC96721A}"/>
                </a:ext>
              </a:extLst>
            </p:cNvPr>
            <p:cNvSpPr/>
            <p:nvPr/>
          </p:nvSpPr>
          <p:spPr>
            <a:xfrm>
              <a:off x="7944812" y="1992424"/>
              <a:ext cx="384416" cy="239375"/>
            </a:xfrm>
            <a:custGeom>
              <a:avLst/>
              <a:gdLst/>
              <a:ahLst/>
              <a:cxnLst/>
              <a:rect l="l" t="t" r="r" b="b"/>
              <a:pathLst>
                <a:path w="477" h="287" extrusionOk="0">
                  <a:moveTo>
                    <a:pt x="477" y="278"/>
                  </a:moveTo>
                  <a:cubicBezTo>
                    <a:pt x="477" y="283"/>
                    <a:pt x="473" y="287"/>
                    <a:pt x="468" y="287"/>
                  </a:cubicBezTo>
                  <a:cubicBezTo>
                    <a:pt x="9" y="287"/>
                    <a:pt x="9" y="287"/>
                    <a:pt x="9" y="287"/>
                  </a:cubicBezTo>
                  <a:cubicBezTo>
                    <a:pt x="4" y="287"/>
                    <a:pt x="0" y="283"/>
                    <a:pt x="0" y="278"/>
                  </a:cubicBezTo>
                  <a:cubicBezTo>
                    <a:pt x="0" y="8"/>
                    <a:pt x="0" y="8"/>
                    <a:pt x="0" y="8"/>
                  </a:cubicBezTo>
                  <a:cubicBezTo>
                    <a:pt x="0" y="3"/>
                    <a:pt x="4" y="0"/>
                    <a:pt x="9" y="0"/>
                  </a:cubicBezTo>
                  <a:cubicBezTo>
                    <a:pt x="468" y="0"/>
                    <a:pt x="468" y="0"/>
                    <a:pt x="468" y="0"/>
                  </a:cubicBezTo>
                  <a:cubicBezTo>
                    <a:pt x="473" y="0"/>
                    <a:pt x="477" y="3"/>
                    <a:pt x="477" y="8"/>
                  </a:cubicBezTo>
                  <a:lnTo>
                    <a:pt x="477" y="278"/>
                  </a:ln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62" name="Google Shape;2417;p68">
              <a:extLst>
                <a:ext uri="{FF2B5EF4-FFF2-40B4-BE49-F238E27FC236}">
                  <a16:creationId xmlns:a16="http://schemas.microsoft.com/office/drawing/2014/main" id="{0E8E610F-403F-BC2F-A415-A36600FFA8A2}"/>
                </a:ext>
              </a:extLst>
            </p:cNvPr>
            <p:cNvSpPr/>
            <p:nvPr/>
          </p:nvSpPr>
          <p:spPr>
            <a:xfrm>
              <a:off x="7944813" y="1992424"/>
              <a:ext cx="384416" cy="212349"/>
            </a:xfrm>
            <a:custGeom>
              <a:avLst/>
              <a:gdLst/>
              <a:ahLst/>
              <a:cxnLst/>
              <a:rect l="l" t="t" r="r" b="b"/>
              <a:pathLst>
                <a:path w="477" h="254" extrusionOk="0">
                  <a:moveTo>
                    <a:pt x="477" y="246"/>
                  </a:moveTo>
                  <a:cubicBezTo>
                    <a:pt x="477" y="250"/>
                    <a:pt x="473" y="254"/>
                    <a:pt x="468" y="254"/>
                  </a:cubicBezTo>
                  <a:cubicBezTo>
                    <a:pt x="9" y="254"/>
                    <a:pt x="9" y="254"/>
                    <a:pt x="9" y="254"/>
                  </a:cubicBezTo>
                  <a:cubicBezTo>
                    <a:pt x="4" y="254"/>
                    <a:pt x="0" y="250"/>
                    <a:pt x="0" y="246"/>
                  </a:cubicBezTo>
                  <a:cubicBezTo>
                    <a:pt x="0" y="8"/>
                    <a:pt x="0" y="8"/>
                    <a:pt x="0" y="8"/>
                  </a:cubicBezTo>
                  <a:cubicBezTo>
                    <a:pt x="0" y="3"/>
                    <a:pt x="4" y="0"/>
                    <a:pt x="9" y="0"/>
                  </a:cubicBezTo>
                  <a:cubicBezTo>
                    <a:pt x="468" y="0"/>
                    <a:pt x="468" y="0"/>
                    <a:pt x="468" y="0"/>
                  </a:cubicBezTo>
                  <a:cubicBezTo>
                    <a:pt x="473" y="0"/>
                    <a:pt x="477" y="3"/>
                    <a:pt x="477" y="8"/>
                  </a:cubicBezTo>
                  <a:lnTo>
                    <a:pt x="477" y="246"/>
                  </a:ln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63" name="Google Shape;2418;p68">
              <a:extLst>
                <a:ext uri="{FF2B5EF4-FFF2-40B4-BE49-F238E27FC236}">
                  <a16:creationId xmlns:a16="http://schemas.microsoft.com/office/drawing/2014/main" id="{EC1AFEFF-2E55-CA01-51D8-E408DCAD48A7}"/>
                </a:ext>
              </a:extLst>
            </p:cNvPr>
            <p:cNvSpPr/>
            <p:nvPr/>
          </p:nvSpPr>
          <p:spPr>
            <a:xfrm>
              <a:off x="8064242" y="2231800"/>
              <a:ext cx="145556" cy="73357"/>
            </a:xfrm>
            <a:custGeom>
              <a:avLst/>
              <a:gdLst/>
              <a:ahLst/>
              <a:cxnLst/>
              <a:rect l="l" t="t" r="r" b="b"/>
              <a:pathLst>
                <a:path w="181" h="88" extrusionOk="0">
                  <a:moveTo>
                    <a:pt x="163" y="69"/>
                  </a:moveTo>
                  <a:cubicBezTo>
                    <a:pt x="146" y="61"/>
                    <a:pt x="144" y="45"/>
                    <a:pt x="141" y="31"/>
                  </a:cubicBezTo>
                  <a:cubicBezTo>
                    <a:pt x="138" y="20"/>
                    <a:pt x="136" y="10"/>
                    <a:pt x="134" y="0"/>
                  </a:cubicBezTo>
                  <a:cubicBezTo>
                    <a:pt x="47" y="0"/>
                    <a:pt x="47" y="0"/>
                    <a:pt x="47" y="0"/>
                  </a:cubicBezTo>
                  <a:cubicBezTo>
                    <a:pt x="45" y="10"/>
                    <a:pt x="43" y="20"/>
                    <a:pt x="40" y="31"/>
                  </a:cubicBezTo>
                  <a:cubicBezTo>
                    <a:pt x="37" y="45"/>
                    <a:pt x="35" y="61"/>
                    <a:pt x="18" y="69"/>
                  </a:cubicBezTo>
                  <a:cubicBezTo>
                    <a:pt x="0" y="79"/>
                    <a:pt x="1" y="83"/>
                    <a:pt x="1" y="88"/>
                  </a:cubicBezTo>
                  <a:cubicBezTo>
                    <a:pt x="180" y="88"/>
                    <a:pt x="180" y="88"/>
                    <a:pt x="180" y="88"/>
                  </a:cubicBezTo>
                  <a:cubicBezTo>
                    <a:pt x="180" y="83"/>
                    <a:pt x="181" y="79"/>
                    <a:pt x="163" y="69"/>
                  </a:cubicBezTo>
                  <a:close/>
                </a:path>
              </a:pathLst>
            </a:custGeom>
            <a:noFill/>
            <a:ln w="1905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164" name="Google Shape;2421;p68">
              <a:extLst>
                <a:ext uri="{FF2B5EF4-FFF2-40B4-BE49-F238E27FC236}">
                  <a16:creationId xmlns:a16="http://schemas.microsoft.com/office/drawing/2014/main" id="{0353DBFB-17BF-088F-43AD-90BB27C75091}"/>
                </a:ext>
              </a:extLst>
            </p:cNvPr>
            <p:cNvCxnSpPr/>
            <p:nvPr/>
          </p:nvCxnSpPr>
          <p:spPr>
            <a:xfrm>
              <a:off x="8075439" y="2042616"/>
              <a:ext cx="55897" cy="65700"/>
            </a:xfrm>
            <a:prstGeom prst="straightConnector1">
              <a:avLst/>
            </a:prstGeom>
            <a:noFill/>
            <a:ln w="12700" cap="rnd" cmpd="sng">
              <a:solidFill>
                <a:schemeClr val="dk1"/>
              </a:solidFill>
              <a:prstDash val="solid"/>
              <a:round/>
              <a:headEnd type="none" w="sm" len="sm"/>
              <a:tailEnd type="none" w="sm" len="sm"/>
            </a:ln>
          </p:spPr>
        </p:cxnSp>
        <p:cxnSp>
          <p:nvCxnSpPr>
            <p:cNvPr id="165" name="Google Shape;2422;p68">
              <a:extLst>
                <a:ext uri="{FF2B5EF4-FFF2-40B4-BE49-F238E27FC236}">
                  <a16:creationId xmlns:a16="http://schemas.microsoft.com/office/drawing/2014/main" id="{1EF6D2DA-3BF8-AC76-32B7-AA6ABDEE56A1}"/>
                </a:ext>
              </a:extLst>
            </p:cNvPr>
            <p:cNvCxnSpPr/>
            <p:nvPr/>
          </p:nvCxnSpPr>
          <p:spPr>
            <a:xfrm flipH="1">
              <a:off x="8060431" y="2108251"/>
              <a:ext cx="15007" cy="27000"/>
            </a:xfrm>
            <a:prstGeom prst="straightConnector1">
              <a:avLst/>
            </a:prstGeom>
            <a:noFill/>
            <a:ln w="12700" cap="rnd" cmpd="sng">
              <a:solidFill>
                <a:schemeClr val="dk1"/>
              </a:solidFill>
              <a:prstDash val="solid"/>
              <a:round/>
              <a:headEnd type="none" w="sm" len="sm"/>
              <a:tailEnd type="none" w="sm" len="sm"/>
            </a:ln>
          </p:spPr>
        </p:cxnSp>
        <p:sp>
          <p:nvSpPr>
            <p:cNvPr id="166" name="Google Shape;2423;p68">
              <a:extLst>
                <a:ext uri="{FF2B5EF4-FFF2-40B4-BE49-F238E27FC236}">
                  <a16:creationId xmlns:a16="http://schemas.microsoft.com/office/drawing/2014/main" id="{028B7989-912C-1E16-59E4-6CFD52A08C9F}"/>
                </a:ext>
              </a:extLst>
            </p:cNvPr>
            <p:cNvSpPr/>
            <p:nvPr/>
          </p:nvSpPr>
          <p:spPr>
            <a:xfrm>
              <a:off x="8224726" y="2038755"/>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2"/>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67" name="Google Shape;2424;p68">
              <a:extLst>
                <a:ext uri="{FF2B5EF4-FFF2-40B4-BE49-F238E27FC236}">
                  <a16:creationId xmlns:a16="http://schemas.microsoft.com/office/drawing/2014/main" id="{12EADB35-164E-6F35-C03B-4026BA3E1DFC}"/>
                </a:ext>
              </a:extLst>
            </p:cNvPr>
            <p:cNvSpPr/>
            <p:nvPr/>
          </p:nvSpPr>
          <p:spPr>
            <a:xfrm>
              <a:off x="8243388" y="2092808"/>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68" name="Google Shape;2425;p68">
              <a:extLst>
                <a:ext uri="{FF2B5EF4-FFF2-40B4-BE49-F238E27FC236}">
                  <a16:creationId xmlns:a16="http://schemas.microsoft.com/office/drawing/2014/main" id="{7496CDBC-984E-7143-5039-FBDC77896EF3}"/>
                </a:ext>
              </a:extLst>
            </p:cNvPr>
            <p:cNvSpPr/>
            <p:nvPr/>
          </p:nvSpPr>
          <p:spPr>
            <a:xfrm>
              <a:off x="8220995" y="2150721"/>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69" name="Google Shape;2426;p68">
              <a:extLst>
                <a:ext uri="{FF2B5EF4-FFF2-40B4-BE49-F238E27FC236}">
                  <a16:creationId xmlns:a16="http://schemas.microsoft.com/office/drawing/2014/main" id="{E84C0EDC-5EA5-3C91-BEED-41DF5E0B35F7}"/>
                </a:ext>
              </a:extLst>
            </p:cNvPr>
            <p:cNvSpPr/>
            <p:nvPr/>
          </p:nvSpPr>
          <p:spPr>
            <a:xfrm>
              <a:off x="8038116" y="2131416"/>
              <a:ext cx="29858" cy="30887"/>
            </a:xfrm>
            <a:custGeom>
              <a:avLst/>
              <a:gdLst/>
              <a:ahLst/>
              <a:cxnLst/>
              <a:rect l="l" t="t" r="r" b="b"/>
              <a:pathLst>
                <a:path w="37" h="37" extrusionOk="0">
                  <a:moveTo>
                    <a:pt x="35" y="22"/>
                  </a:moveTo>
                  <a:cubicBezTo>
                    <a:pt x="37" y="13"/>
                    <a:pt x="32"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70" name="Google Shape;2427;p68">
              <a:extLst>
                <a:ext uri="{FF2B5EF4-FFF2-40B4-BE49-F238E27FC236}">
                  <a16:creationId xmlns:a16="http://schemas.microsoft.com/office/drawing/2014/main" id="{F1C21135-969C-920D-80B7-EAC5E4B283AC}"/>
                </a:ext>
              </a:extLst>
            </p:cNvPr>
            <p:cNvSpPr/>
            <p:nvPr/>
          </p:nvSpPr>
          <p:spPr>
            <a:xfrm>
              <a:off x="8000795" y="2092808"/>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6" y="33"/>
                    <a:pt x="15"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71" name="Google Shape;2428;p68">
              <a:extLst>
                <a:ext uri="{FF2B5EF4-FFF2-40B4-BE49-F238E27FC236}">
                  <a16:creationId xmlns:a16="http://schemas.microsoft.com/office/drawing/2014/main" id="{7772EB95-E336-70CD-AA98-9288B62AB499}"/>
                </a:ext>
              </a:extLst>
            </p:cNvPr>
            <p:cNvSpPr/>
            <p:nvPr/>
          </p:nvSpPr>
          <p:spPr>
            <a:xfrm>
              <a:off x="8004527" y="2034894"/>
              <a:ext cx="29858" cy="30887"/>
            </a:xfrm>
            <a:custGeom>
              <a:avLst/>
              <a:gdLst/>
              <a:ahLst/>
              <a:cxnLst/>
              <a:rect l="l" t="t" r="r" b="b"/>
              <a:pathLst>
                <a:path w="37" h="37" extrusionOk="0">
                  <a:moveTo>
                    <a:pt x="35" y="23"/>
                  </a:moveTo>
                  <a:cubicBezTo>
                    <a:pt x="37" y="13"/>
                    <a:pt x="31" y="4"/>
                    <a:pt x="22" y="2"/>
                  </a:cubicBezTo>
                  <a:cubicBezTo>
                    <a:pt x="13" y="0"/>
                    <a:pt x="4" y="6"/>
                    <a:pt x="2" y="15"/>
                  </a:cubicBezTo>
                  <a:cubicBezTo>
                    <a:pt x="0" y="24"/>
                    <a:pt x="6" y="33"/>
                    <a:pt x="15" y="35"/>
                  </a:cubicBezTo>
                  <a:cubicBezTo>
                    <a:pt x="24" y="37"/>
                    <a:pt x="33" y="32"/>
                    <a:pt x="35" y="23"/>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172" name="Google Shape;2429;p68">
              <a:extLst>
                <a:ext uri="{FF2B5EF4-FFF2-40B4-BE49-F238E27FC236}">
                  <a16:creationId xmlns:a16="http://schemas.microsoft.com/office/drawing/2014/main" id="{41571C28-8EC3-A0D0-3C4D-22F83D898101}"/>
                </a:ext>
              </a:extLst>
            </p:cNvPr>
            <p:cNvCxnSpPr/>
            <p:nvPr/>
          </p:nvCxnSpPr>
          <p:spPr>
            <a:xfrm rot="10800000">
              <a:off x="8105530" y="2135277"/>
              <a:ext cx="108000" cy="0"/>
            </a:xfrm>
            <a:prstGeom prst="straightConnector1">
              <a:avLst/>
            </a:prstGeom>
            <a:noFill/>
            <a:ln w="12700" cap="rnd" cmpd="sng">
              <a:solidFill>
                <a:schemeClr val="dk1"/>
              </a:solidFill>
              <a:prstDash val="solid"/>
              <a:round/>
              <a:headEnd type="none" w="sm" len="sm"/>
              <a:tailEnd type="none" w="sm" len="sm"/>
            </a:ln>
          </p:spPr>
        </p:cxnSp>
        <p:cxnSp>
          <p:nvCxnSpPr>
            <p:cNvPr id="173" name="Google Shape;2430;p68">
              <a:extLst>
                <a:ext uri="{FF2B5EF4-FFF2-40B4-BE49-F238E27FC236}">
                  <a16:creationId xmlns:a16="http://schemas.microsoft.com/office/drawing/2014/main" id="{B7023DF1-643C-5BED-99A7-7AF94CF7C28E}"/>
                </a:ext>
              </a:extLst>
            </p:cNvPr>
            <p:cNvCxnSpPr/>
            <p:nvPr/>
          </p:nvCxnSpPr>
          <p:spPr>
            <a:xfrm>
              <a:off x="8176208" y="2081225"/>
              <a:ext cx="52200" cy="73350"/>
            </a:xfrm>
            <a:prstGeom prst="straightConnector1">
              <a:avLst/>
            </a:prstGeom>
            <a:noFill/>
            <a:ln w="12700" cap="rnd" cmpd="sng">
              <a:solidFill>
                <a:schemeClr val="dk1"/>
              </a:solidFill>
              <a:prstDash val="solid"/>
              <a:round/>
              <a:headEnd type="none" w="sm" len="sm"/>
              <a:tailEnd type="none" w="sm" len="sm"/>
            </a:ln>
          </p:spPr>
        </p:cxnSp>
        <p:cxnSp>
          <p:nvCxnSpPr>
            <p:cNvPr id="174" name="Google Shape;2431;p68">
              <a:extLst>
                <a:ext uri="{FF2B5EF4-FFF2-40B4-BE49-F238E27FC236}">
                  <a16:creationId xmlns:a16="http://schemas.microsoft.com/office/drawing/2014/main" id="{EA6D8D93-0404-7266-9166-44CA1B131FD9}"/>
                </a:ext>
              </a:extLst>
            </p:cNvPr>
            <p:cNvCxnSpPr/>
            <p:nvPr/>
          </p:nvCxnSpPr>
          <p:spPr>
            <a:xfrm>
              <a:off x="8224726" y="2135277"/>
              <a:ext cx="0" cy="0"/>
            </a:xfrm>
            <a:prstGeom prst="straightConnector1">
              <a:avLst/>
            </a:prstGeom>
            <a:noFill/>
            <a:ln w="12700" cap="rnd" cmpd="sng">
              <a:solidFill>
                <a:schemeClr val="dk1"/>
              </a:solidFill>
              <a:prstDash val="solid"/>
              <a:round/>
              <a:headEnd type="none" w="sm" len="sm"/>
              <a:tailEnd type="none" w="sm" len="sm"/>
            </a:ln>
          </p:spPr>
        </p:cxnSp>
        <p:cxnSp>
          <p:nvCxnSpPr>
            <p:cNvPr id="175" name="Google Shape;2432;p68">
              <a:extLst>
                <a:ext uri="{FF2B5EF4-FFF2-40B4-BE49-F238E27FC236}">
                  <a16:creationId xmlns:a16="http://schemas.microsoft.com/office/drawing/2014/main" id="{4254CF74-298C-DDAE-42AA-3B60CC87E992}"/>
                </a:ext>
              </a:extLst>
            </p:cNvPr>
            <p:cNvCxnSpPr/>
            <p:nvPr/>
          </p:nvCxnSpPr>
          <p:spPr>
            <a:xfrm>
              <a:off x="8109029" y="2081225"/>
              <a:ext cx="67207" cy="0"/>
            </a:xfrm>
            <a:prstGeom prst="straightConnector1">
              <a:avLst/>
            </a:prstGeom>
            <a:noFill/>
            <a:ln w="12700" cap="rnd" cmpd="sng">
              <a:solidFill>
                <a:schemeClr val="dk1"/>
              </a:solidFill>
              <a:prstDash val="solid"/>
              <a:round/>
              <a:headEnd type="none" w="sm" len="sm"/>
              <a:tailEnd type="none" w="sm" len="sm"/>
            </a:ln>
          </p:spPr>
        </p:cxnSp>
        <p:cxnSp>
          <p:nvCxnSpPr>
            <p:cNvPr id="176" name="Google Shape;2433;p68">
              <a:extLst>
                <a:ext uri="{FF2B5EF4-FFF2-40B4-BE49-F238E27FC236}">
                  <a16:creationId xmlns:a16="http://schemas.microsoft.com/office/drawing/2014/main" id="{A01895CA-AB13-F2F0-23B2-8369C3B327B0}"/>
                </a:ext>
              </a:extLst>
            </p:cNvPr>
            <p:cNvCxnSpPr/>
            <p:nvPr/>
          </p:nvCxnSpPr>
          <p:spPr>
            <a:xfrm>
              <a:off x="8030653" y="2061921"/>
              <a:ext cx="18705" cy="19350"/>
            </a:xfrm>
            <a:prstGeom prst="straightConnector1">
              <a:avLst/>
            </a:prstGeom>
            <a:noFill/>
            <a:ln w="12700" cap="rnd" cmpd="sng">
              <a:solidFill>
                <a:schemeClr val="dk1"/>
              </a:solidFill>
              <a:prstDash val="solid"/>
              <a:round/>
              <a:headEnd type="none" w="sm" len="sm"/>
              <a:tailEnd type="none" w="sm" len="sm"/>
            </a:ln>
          </p:spPr>
        </p:cxnSp>
        <p:sp>
          <p:nvSpPr>
            <p:cNvPr id="177" name="Google Shape;2434;p68">
              <a:extLst>
                <a:ext uri="{FF2B5EF4-FFF2-40B4-BE49-F238E27FC236}">
                  <a16:creationId xmlns:a16="http://schemas.microsoft.com/office/drawing/2014/main" id="{C7717D69-D30A-7F0B-135E-9BC5BFD12294}"/>
                </a:ext>
              </a:extLst>
            </p:cNvPr>
            <p:cNvSpPr/>
            <p:nvPr/>
          </p:nvSpPr>
          <p:spPr>
            <a:xfrm>
              <a:off x="8053046" y="2015590"/>
              <a:ext cx="29858" cy="30887"/>
            </a:xfrm>
            <a:custGeom>
              <a:avLst/>
              <a:gdLst/>
              <a:ahLst/>
              <a:cxnLst/>
              <a:rect l="l" t="t" r="r" b="b"/>
              <a:pathLst>
                <a:path w="37" h="37" extrusionOk="0">
                  <a:moveTo>
                    <a:pt x="35" y="22"/>
                  </a:moveTo>
                  <a:cubicBezTo>
                    <a:pt x="37" y="13"/>
                    <a:pt x="31" y="4"/>
                    <a:pt x="22" y="2"/>
                  </a:cubicBezTo>
                  <a:cubicBezTo>
                    <a:pt x="13" y="0"/>
                    <a:pt x="4" y="6"/>
                    <a:pt x="2" y="15"/>
                  </a:cubicBezTo>
                  <a:cubicBezTo>
                    <a:pt x="0" y="24"/>
                    <a:pt x="5" y="33"/>
                    <a:pt x="14" y="35"/>
                  </a:cubicBezTo>
                  <a:cubicBezTo>
                    <a:pt x="24" y="37"/>
                    <a:pt x="33" y="31"/>
                    <a:pt x="35" y="22"/>
                  </a:cubicBezTo>
                  <a:close/>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178" name="Google Shape;2435;p68">
              <a:extLst>
                <a:ext uri="{FF2B5EF4-FFF2-40B4-BE49-F238E27FC236}">
                  <a16:creationId xmlns:a16="http://schemas.microsoft.com/office/drawing/2014/main" id="{F10FEEDF-09CE-4C45-1246-7A9C89130C70}"/>
                </a:ext>
              </a:extLst>
            </p:cNvPr>
            <p:cNvCxnSpPr/>
            <p:nvPr/>
          </p:nvCxnSpPr>
          <p:spPr>
            <a:xfrm>
              <a:off x="8086636" y="2054199"/>
              <a:ext cx="138112" cy="0"/>
            </a:xfrm>
            <a:prstGeom prst="straightConnector1">
              <a:avLst/>
            </a:prstGeom>
            <a:noFill/>
            <a:ln w="12700" cap="rnd" cmpd="sng">
              <a:solidFill>
                <a:schemeClr val="dk1"/>
              </a:solidFill>
              <a:prstDash val="solid"/>
              <a:round/>
              <a:headEnd type="none" w="sm" len="sm"/>
              <a:tailEnd type="none" w="sm" len="sm"/>
            </a:ln>
          </p:spPr>
        </p:cxnSp>
        <p:sp>
          <p:nvSpPr>
            <p:cNvPr id="179" name="Google Shape;2436;p68">
              <a:extLst>
                <a:ext uri="{FF2B5EF4-FFF2-40B4-BE49-F238E27FC236}">
                  <a16:creationId xmlns:a16="http://schemas.microsoft.com/office/drawing/2014/main" id="{059CCD1E-CCB8-1867-7BF9-3E8264CDDB12}"/>
                </a:ext>
              </a:extLst>
            </p:cNvPr>
            <p:cNvSpPr/>
            <p:nvPr/>
          </p:nvSpPr>
          <p:spPr>
            <a:xfrm>
              <a:off x="8026920" y="2108251"/>
              <a:ext cx="216467" cy="0"/>
            </a:xfrm>
            <a:custGeom>
              <a:avLst/>
              <a:gdLst/>
              <a:ahLst/>
              <a:cxnLst/>
              <a:rect l="l" t="t" r="r" b="b"/>
              <a:pathLst>
                <a:path w="58" h="120000" extrusionOk="0">
                  <a:moveTo>
                    <a:pt x="58" y="0"/>
                  </a:moveTo>
                  <a:lnTo>
                    <a:pt x="31" y="0"/>
                  </a:lnTo>
                  <a:lnTo>
                    <a:pt x="0" y="0"/>
                  </a:lnTo>
                </a:path>
              </a:pathLst>
            </a:custGeom>
            <a:noFill/>
            <a:ln w="12700" cap="rnd" cmpd="sng">
              <a:solidFill>
                <a:schemeClr val="dk1"/>
              </a:solidFill>
              <a:prstDash val="solid"/>
              <a:round/>
              <a:headEnd type="none" w="sm" len="sm"/>
              <a:tailEnd type="none" w="sm" len="sm"/>
            </a:ln>
          </p:spPr>
          <p:txBody>
            <a:bodyPr spcFirstLastPara="1" wrap="square" lIns="79125" tIns="39550" rIns="79125" bIns="3955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cxnSp>
          <p:nvCxnSpPr>
            <p:cNvPr id="180" name="Google Shape;2437;p68">
              <a:extLst>
                <a:ext uri="{FF2B5EF4-FFF2-40B4-BE49-F238E27FC236}">
                  <a16:creationId xmlns:a16="http://schemas.microsoft.com/office/drawing/2014/main" id="{9244C729-9D6B-C588-7C3A-522A2DC08DE6}"/>
                </a:ext>
              </a:extLst>
            </p:cNvPr>
            <p:cNvCxnSpPr/>
            <p:nvPr/>
          </p:nvCxnSpPr>
          <p:spPr>
            <a:xfrm>
              <a:off x="8049313" y="2081225"/>
              <a:ext cx="48502" cy="54000"/>
            </a:xfrm>
            <a:prstGeom prst="straightConnector1">
              <a:avLst/>
            </a:prstGeom>
            <a:noFill/>
            <a:ln w="12700" cap="rnd" cmpd="sng">
              <a:solidFill>
                <a:schemeClr val="dk1"/>
              </a:solidFill>
              <a:prstDash val="solid"/>
              <a:round/>
              <a:headEnd type="none" w="sm" len="sm"/>
              <a:tailEnd type="none" w="sm" len="sm"/>
            </a:ln>
          </p:spPr>
        </p:cxnSp>
      </p:grpSp>
      <p:pic>
        <p:nvPicPr>
          <p:cNvPr id="4" name="Picture 3" descr="Sia Partners Introduces SiaGPT | Business Wire">
            <a:extLst>
              <a:ext uri="{FF2B5EF4-FFF2-40B4-BE49-F238E27FC236}">
                <a16:creationId xmlns:a16="http://schemas.microsoft.com/office/drawing/2014/main" id="{E1F984FA-92A7-0E76-037B-8FDA0848EF2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B96CF29-4C39-784D-ED1B-235BC9F565CA}"/>
              </a:ext>
            </a:extLst>
          </p:cNvPr>
          <p:cNvSpPr txBox="1"/>
          <p:nvPr/>
        </p:nvSpPr>
        <p:spPr>
          <a:xfrm>
            <a:off x="3593422" y="5599699"/>
            <a:ext cx="402790"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High</a:t>
            </a:r>
          </a:p>
        </p:txBody>
      </p:sp>
      <p:sp>
        <p:nvSpPr>
          <p:cNvPr id="5" name="TextBox 4">
            <a:extLst>
              <a:ext uri="{FF2B5EF4-FFF2-40B4-BE49-F238E27FC236}">
                <a16:creationId xmlns:a16="http://schemas.microsoft.com/office/drawing/2014/main" id="{92A93E00-7661-AA35-1539-2253A79E33BB}"/>
              </a:ext>
            </a:extLst>
          </p:cNvPr>
          <p:cNvSpPr txBox="1"/>
          <p:nvPr/>
        </p:nvSpPr>
        <p:spPr>
          <a:xfrm>
            <a:off x="3544444" y="5756985"/>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7" name="TextBox 6">
            <a:extLst>
              <a:ext uri="{FF2B5EF4-FFF2-40B4-BE49-F238E27FC236}">
                <a16:creationId xmlns:a16="http://schemas.microsoft.com/office/drawing/2014/main" id="{4BB6AACB-13AB-E531-2CBC-82DBF938343C}"/>
              </a:ext>
            </a:extLst>
          </p:cNvPr>
          <p:cNvSpPr txBox="1"/>
          <p:nvPr/>
        </p:nvSpPr>
        <p:spPr>
          <a:xfrm>
            <a:off x="3543766" y="5928296"/>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8" name="TextBox 7">
            <a:extLst>
              <a:ext uri="{FF2B5EF4-FFF2-40B4-BE49-F238E27FC236}">
                <a16:creationId xmlns:a16="http://schemas.microsoft.com/office/drawing/2014/main" id="{00DE777B-2A44-0BB5-1BE4-4A9FCB8F3716}"/>
              </a:ext>
            </a:extLst>
          </p:cNvPr>
          <p:cNvSpPr txBox="1"/>
          <p:nvPr/>
        </p:nvSpPr>
        <p:spPr>
          <a:xfrm>
            <a:off x="3608462" y="6094186"/>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Low</a:t>
            </a:r>
          </a:p>
        </p:txBody>
      </p:sp>
      <p:sp>
        <p:nvSpPr>
          <p:cNvPr id="19" name="TextBox 18">
            <a:extLst>
              <a:ext uri="{FF2B5EF4-FFF2-40B4-BE49-F238E27FC236}">
                <a16:creationId xmlns:a16="http://schemas.microsoft.com/office/drawing/2014/main" id="{BC2CA557-C3CF-9D25-FB1B-874A3461D459}"/>
              </a:ext>
            </a:extLst>
          </p:cNvPr>
          <p:cNvSpPr txBox="1"/>
          <p:nvPr/>
        </p:nvSpPr>
        <p:spPr>
          <a:xfrm>
            <a:off x="7165619" y="5635033"/>
            <a:ext cx="402790"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High</a:t>
            </a:r>
          </a:p>
        </p:txBody>
      </p:sp>
      <p:sp>
        <p:nvSpPr>
          <p:cNvPr id="20" name="TextBox 19">
            <a:extLst>
              <a:ext uri="{FF2B5EF4-FFF2-40B4-BE49-F238E27FC236}">
                <a16:creationId xmlns:a16="http://schemas.microsoft.com/office/drawing/2014/main" id="{52EE22F8-13F8-5CC7-AAA2-73DAF7B64B88}"/>
              </a:ext>
            </a:extLst>
          </p:cNvPr>
          <p:cNvSpPr txBox="1"/>
          <p:nvPr/>
        </p:nvSpPr>
        <p:spPr>
          <a:xfrm>
            <a:off x="7167441" y="5792319"/>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High</a:t>
            </a:r>
          </a:p>
        </p:txBody>
      </p:sp>
      <p:sp>
        <p:nvSpPr>
          <p:cNvPr id="22" name="TextBox 21">
            <a:extLst>
              <a:ext uri="{FF2B5EF4-FFF2-40B4-BE49-F238E27FC236}">
                <a16:creationId xmlns:a16="http://schemas.microsoft.com/office/drawing/2014/main" id="{572DB831-4E34-5804-5E48-036BEFE1FCAE}"/>
              </a:ext>
            </a:extLst>
          </p:cNvPr>
          <p:cNvSpPr txBox="1"/>
          <p:nvPr/>
        </p:nvSpPr>
        <p:spPr>
          <a:xfrm>
            <a:off x="7115963" y="5963630"/>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23" name="TextBox 22">
            <a:extLst>
              <a:ext uri="{FF2B5EF4-FFF2-40B4-BE49-F238E27FC236}">
                <a16:creationId xmlns:a16="http://schemas.microsoft.com/office/drawing/2014/main" id="{D4DF9806-6723-5315-96D4-81E4F5333AEF}"/>
              </a:ext>
            </a:extLst>
          </p:cNvPr>
          <p:cNvSpPr txBox="1"/>
          <p:nvPr/>
        </p:nvSpPr>
        <p:spPr>
          <a:xfrm>
            <a:off x="7117159" y="6129520"/>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24" name="TextBox 23">
            <a:extLst>
              <a:ext uri="{FF2B5EF4-FFF2-40B4-BE49-F238E27FC236}">
                <a16:creationId xmlns:a16="http://schemas.microsoft.com/office/drawing/2014/main" id="{5D0CB169-3005-683C-123B-00A2B3E79D43}"/>
              </a:ext>
            </a:extLst>
          </p:cNvPr>
          <p:cNvSpPr txBox="1"/>
          <p:nvPr/>
        </p:nvSpPr>
        <p:spPr>
          <a:xfrm>
            <a:off x="10574729" y="5622333"/>
            <a:ext cx="402790"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High</a:t>
            </a:r>
          </a:p>
        </p:txBody>
      </p:sp>
      <p:sp>
        <p:nvSpPr>
          <p:cNvPr id="25" name="TextBox 24">
            <a:extLst>
              <a:ext uri="{FF2B5EF4-FFF2-40B4-BE49-F238E27FC236}">
                <a16:creationId xmlns:a16="http://schemas.microsoft.com/office/drawing/2014/main" id="{3C371CB5-DCCC-3C01-41C3-D57ADF9455DC}"/>
              </a:ext>
            </a:extLst>
          </p:cNvPr>
          <p:cNvSpPr txBox="1"/>
          <p:nvPr/>
        </p:nvSpPr>
        <p:spPr>
          <a:xfrm>
            <a:off x="10582901" y="5779619"/>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High</a:t>
            </a:r>
          </a:p>
        </p:txBody>
      </p:sp>
      <p:sp>
        <p:nvSpPr>
          <p:cNvPr id="26" name="TextBox 25">
            <a:extLst>
              <a:ext uri="{FF2B5EF4-FFF2-40B4-BE49-F238E27FC236}">
                <a16:creationId xmlns:a16="http://schemas.microsoft.com/office/drawing/2014/main" id="{CB0F352E-B774-F154-2468-957BFD6C898B}"/>
              </a:ext>
            </a:extLst>
          </p:cNvPr>
          <p:cNvSpPr txBox="1"/>
          <p:nvPr/>
        </p:nvSpPr>
        <p:spPr>
          <a:xfrm>
            <a:off x="10525073" y="5950930"/>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27" name="TextBox 26">
            <a:extLst>
              <a:ext uri="{FF2B5EF4-FFF2-40B4-BE49-F238E27FC236}">
                <a16:creationId xmlns:a16="http://schemas.microsoft.com/office/drawing/2014/main" id="{EE368116-6442-DB5D-5E6A-F8C9CDE61912}"/>
              </a:ext>
            </a:extLst>
          </p:cNvPr>
          <p:cNvSpPr txBox="1"/>
          <p:nvPr/>
        </p:nvSpPr>
        <p:spPr>
          <a:xfrm>
            <a:off x="10519919" y="6110470"/>
            <a:ext cx="572484" cy="200055"/>
          </a:xfrm>
          <a:prstGeom prst="rect">
            <a:avLst/>
          </a:prstGeom>
          <a:noFill/>
        </p:spPr>
        <p:txBody>
          <a:bodyPr wrap="square" rtlCol="0">
            <a:spAutoFit/>
          </a:bodyPr>
          <a:lstStyle/>
          <a:p>
            <a:r>
              <a:rPr lang="en-GB" sz="700" dirty="0">
                <a:latin typeface="Arial" panose="020B0604020202020204" pitchFamily="34" charset="0"/>
                <a:cs typeface="Arial" panose="020B0604020202020204" pitchFamily="34" charset="0"/>
              </a:rPr>
              <a:t>Medium</a:t>
            </a:r>
          </a:p>
        </p:txBody>
      </p:sp>
      <p:sp>
        <p:nvSpPr>
          <p:cNvPr id="28" name="TextBox 27">
            <a:extLst>
              <a:ext uri="{FF2B5EF4-FFF2-40B4-BE49-F238E27FC236}">
                <a16:creationId xmlns:a16="http://schemas.microsoft.com/office/drawing/2014/main" id="{77770131-1C1E-8B9D-C5CD-885DECA07664}"/>
              </a:ext>
            </a:extLst>
          </p:cNvPr>
          <p:cNvSpPr txBox="1"/>
          <p:nvPr/>
        </p:nvSpPr>
        <p:spPr>
          <a:xfrm>
            <a:off x="4346526" y="5608878"/>
            <a:ext cx="2975310"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Alignment to DSO / RIIO- ED2 requirements: </a:t>
            </a:r>
          </a:p>
        </p:txBody>
      </p:sp>
      <p:sp>
        <p:nvSpPr>
          <p:cNvPr id="30" name="TextBox 29">
            <a:extLst>
              <a:ext uri="{FF2B5EF4-FFF2-40B4-BE49-F238E27FC236}">
                <a16:creationId xmlns:a16="http://schemas.microsoft.com/office/drawing/2014/main" id="{ADE073E4-9F00-4E97-5A32-32977F19809F}"/>
              </a:ext>
            </a:extLst>
          </p:cNvPr>
          <p:cNvSpPr txBox="1"/>
          <p:nvPr/>
        </p:nvSpPr>
        <p:spPr>
          <a:xfrm>
            <a:off x="4332434" y="6098022"/>
            <a:ext cx="2758216"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Risk (to delivery and competition):</a:t>
            </a:r>
          </a:p>
        </p:txBody>
      </p:sp>
      <p:sp>
        <p:nvSpPr>
          <p:cNvPr id="37" name="TextBox 36">
            <a:extLst>
              <a:ext uri="{FF2B5EF4-FFF2-40B4-BE49-F238E27FC236}">
                <a16:creationId xmlns:a16="http://schemas.microsoft.com/office/drawing/2014/main" id="{D33165C5-EB8F-DC12-DA40-2A7648D1AFA7}"/>
              </a:ext>
            </a:extLst>
          </p:cNvPr>
          <p:cNvSpPr txBox="1"/>
          <p:nvPr/>
        </p:nvSpPr>
        <p:spPr>
          <a:xfrm>
            <a:off x="4342230" y="5940443"/>
            <a:ext cx="2680461"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Complexity to Deliver (time and cost):</a:t>
            </a:r>
          </a:p>
        </p:txBody>
      </p:sp>
      <p:sp>
        <p:nvSpPr>
          <p:cNvPr id="38" name="TextBox 37">
            <a:extLst>
              <a:ext uri="{FF2B5EF4-FFF2-40B4-BE49-F238E27FC236}">
                <a16:creationId xmlns:a16="http://schemas.microsoft.com/office/drawing/2014/main" id="{A6593CAD-6143-6B7D-0BE4-F51DDF27D800}"/>
              </a:ext>
            </a:extLst>
          </p:cNvPr>
          <p:cNvSpPr txBox="1"/>
          <p:nvPr/>
        </p:nvSpPr>
        <p:spPr>
          <a:xfrm>
            <a:off x="4343641" y="5775140"/>
            <a:ext cx="2481549"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Impact (benefit and scalability): </a:t>
            </a:r>
          </a:p>
        </p:txBody>
      </p:sp>
      <p:sp>
        <p:nvSpPr>
          <p:cNvPr id="39" name="TextBox 38">
            <a:extLst>
              <a:ext uri="{FF2B5EF4-FFF2-40B4-BE49-F238E27FC236}">
                <a16:creationId xmlns:a16="http://schemas.microsoft.com/office/drawing/2014/main" id="{D4F23162-2F10-DFF5-CB35-85E59CFD858E}"/>
              </a:ext>
            </a:extLst>
          </p:cNvPr>
          <p:cNvSpPr txBox="1"/>
          <p:nvPr/>
        </p:nvSpPr>
        <p:spPr>
          <a:xfrm>
            <a:off x="7803645" y="5588943"/>
            <a:ext cx="2975310"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Alignment to DSO / RIIO- ED2 requirements: </a:t>
            </a:r>
          </a:p>
        </p:txBody>
      </p:sp>
      <p:sp>
        <p:nvSpPr>
          <p:cNvPr id="40" name="TextBox 39">
            <a:extLst>
              <a:ext uri="{FF2B5EF4-FFF2-40B4-BE49-F238E27FC236}">
                <a16:creationId xmlns:a16="http://schemas.microsoft.com/office/drawing/2014/main" id="{5E46EFA8-AF16-A031-19FF-7DB848AEA916}"/>
              </a:ext>
            </a:extLst>
          </p:cNvPr>
          <p:cNvSpPr txBox="1"/>
          <p:nvPr/>
        </p:nvSpPr>
        <p:spPr>
          <a:xfrm>
            <a:off x="7789553" y="6078087"/>
            <a:ext cx="2758216"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Risk (to delivery and competition):</a:t>
            </a:r>
          </a:p>
        </p:txBody>
      </p:sp>
      <p:sp>
        <p:nvSpPr>
          <p:cNvPr id="43" name="TextBox 42">
            <a:extLst>
              <a:ext uri="{FF2B5EF4-FFF2-40B4-BE49-F238E27FC236}">
                <a16:creationId xmlns:a16="http://schemas.microsoft.com/office/drawing/2014/main" id="{931FDE37-80F7-F25A-4624-B69CE1545DB9}"/>
              </a:ext>
            </a:extLst>
          </p:cNvPr>
          <p:cNvSpPr txBox="1"/>
          <p:nvPr/>
        </p:nvSpPr>
        <p:spPr>
          <a:xfrm>
            <a:off x="7799349" y="5920508"/>
            <a:ext cx="2680461"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Complexity to Deliver (time and cost):</a:t>
            </a:r>
          </a:p>
        </p:txBody>
      </p:sp>
      <p:sp>
        <p:nvSpPr>
          <p:cNvPr id="44" name="TextBox 43">
            <a:extLst>
              <a:ext uri="{FF2B5EF4-FFF2-40B4-BE49-F238E27FC236}">
                <a16:creationId xmlns:a16="http://schemas.microsoft.com/office/drawing/2014/main" id="{D1072B8E-C97E-788E-5FAF-44ACBFFAD4D6}"/>
              </a:ext>
            </a:extLst>
          </p:cNvPr>
          <p:cNvSpPr txBox="1"/>
          <p:nvPr/>
        </p:nvSpPr>
        <p:spPr>
          <a:xfrm>
            <a:off x="7800760" y="5755205"/>
            <a:ext cx="2481549" cy="261610"/>
          </a:xfrm>
          <a:prstGeom prst="rect">
            <a:avLst/>
          </a:prstGeom>
          <a:noFill/>
        </p:spPr>
        <p:txBody>
          <a:bodyPr wrap="square" rtlCol="0">
            <a:spAutoFit/>
          </a:bodyPr>
          <a:lstStyle/>
          <a:p>
            <a:r>
              <a:rPr lang="en-GB" sz="1050" i="1" dirty="0">
                <a:solidFill>
                  <a:schemeClr val="tx1">
                    <a:lumMod val="85000"/>
                    <a:lumOff val="15000"/>
                  </a:schemeClr>
                </a:solidFill>
                <a:latin typeface="Arial" panose="020B0604020202020204" pitchFamily="34" charset="0"/>
                <a:cs typeface="Arial" panose="020B0604020202020204" pitchFamily="34" charset="0"/>
              </a:rPr>
              <a:t>Impact (benefit and scalability): </a:t>
            </a:r>
          </a:p>
        </p:txBody>
      </p:sp>
    </p:spTree>
    <p:extLst>
      <p:ext uri="{BB962C8B-B14F-4D97-AF65-F5344CB8AC3E}">
        <p14:creationId xmlns:p14="http://schemas.microsoft.com/office/powerpoint/2010/main" val="391724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363B13D9-2E36-67E5-88C0-31D0B63BBFDE}"/>
              </a:ext>
            </a:extLst>
          </p:cNvPr>
          <p:cNvSpPr/>
          <p:nvPr/>
        </p:nvSpPr>
        <p:spPr>
          <a:xfrm>
            <a:off x="10748184" y="3185483"/>
            <a:ext cx="550213" cy="1026551"/>
          </a:xfrm>
          <a:prstGeom prst="rect">
            <a:avLst/>
          </a:prstGeom>
          <a:solidFill>
            <a:srgbClr val="9C15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b="1">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a:bodyPr>
          <a:lstStyle/>
          <a:p>
            <a:r>
              <a:rPr lang="en-GB" sz="2400" dirty="0"/>
              <a:t>Work Package 3: Partnership Ecosystem- Approach </a:t>
            </a:r>
          </a:p>
        </p:txBody>
      </p:sp>
      <p:sp>
        <p:nvSpPr>
          <p:cNvPr id="6" name="TextBox 5">
            <a:extLst>
              <a:ext uri="{FF2B5EF4-FFF2-40B4-BE49-F238E27FC236}">
                <a16:creationId xmlns:a16="http://schemas.microsoft.com/office/drawing/2014/main" id="{84AEE208-2228-9A04-BC68-B0695A027B66}"/>
              </a:ext>
            </a:extLst>
          </p:cNvPr>
          <p:cNvSpPr txBox="1"/>
          <p:nvPr/>
        </p:nvSpPr>
        <p:spPr>
          <a:xfrm>
            <a:off x="507526" y="1211004"/>
            <a:ext cx="10888428" cy="1107996"/>
          </a:xfrm>
          <a:prstGeom prst="rect">
            <a:avLst/>
          </a:prstGeom>
          <a:noFill/>
        </p:spPr>
        <p:txBody>
          <a:bodyPr wrap="square" rtlCol="0">
            <a:spAutoFit/>
          </a:bodyPr>
          <a:lstStyle/>
          <a:p>
            <a:pPr algn="just" defTabSz="1219170">
              <a:buClr>
                <a:srgbClr val="000000"/>
              </a:buClr>
              <a:defRPr/>
            </a:pPr>
            <a:r>
              <a:rPr lang="en-GB" sz="1400" b="1" kern="0" dirty="0">
                <a:latin typeface="Arial" panose="020B0604020202020204" pitchFamily="34" charset="0"/>
                <a:cs typeface="Arial" panose="020B0604020202020204" pitchFamily="34" charset="0"/>
              </a:rPr>
              <a:t>Aim: Create a partnership ecosystem to align various stakeholders across the energy efficiency and flexibility value chain. This will seek opportunities for collaboration to address the problem, from a community of partners, with the aim of delivering improved outcomes by working together.</a:t>
            </a:r>
          </a:p>
          <a:p>
            <a:pPr algn="just" defTabSz="1219170">
              <a:buClr>
                <a:srgbClr val="000000"/>
              </a:buClr>
              <a:defRPr/>
            </a:pPr>
            <a:endParaRPr lang="en-GB" sz="1000" b="1" kern="0" dirty="0">
              <a:latin typeface="Arial" panose="020B0604020202020204" pitchFamily="34" charset="0"/>
              <a:cs typeface="Arial" panose="020B0604020202020204" pitchFamily="34" charset="0"/>
            </a:endParaRPr>
          </a:p>
          <a:p>
            <a:pPr algn="just" defTabSz="1219170">
              <a:buClr>
                <a:srgbClr val="000000"/>
              </a:buClr>
              <a:defRPr/>
            </a:pPr>
            <a:r>
              <a:rPr lang="en-GB" sz="1400" b="1" kern="0" dirty="0">
                <a:latin typeface="Arial" panose="020B0604020202020204" pitchFamily="34" charset="0"/>
                <a:cs typeface="Arial" panose="020B0604020202020204" pitchFamily="34" charset="0"/>
              </a:rPr>
              <a:t>Success criteria: Mapping of stakeholders and design of partner ecosystem for further engagement in Alpha Phase</a:t>
            </a:r>
          </a:p>
        </p:txBody>
      </p:sp>
      <p:grpSp>
        <p:nvGrpSpPr>
          <p:cNvPr id="10" name="Group 9">
            <a:extLst>
              <a:ext uri="{FF2B5EF4-FFF2-40B4-BE49-F238E27FC236}">
                <a16:creationId xmlns:a16="http://schemas.microsoft.com/office/drawing/2014/main" id="{8138B01B-4678-AE0D-C99E-37B4560F1347}"/>
              </a:ext>
            </a:extLst>
          </p:cNvPr>
          <p:cNvGrpSpPr/>
          <p:nvPr/>
        </p:nvGrpSpPr>
        <p:grpSpPr>
          <a:xfrm>
            <a:off x="752857" y="2508717"/>
            <a:ext cx="10600943" cy="3633517"/>
            <a:chOff x="508335" y="2285957"/>
            <a:chExt cx="10600943" cy="3633517"/>
          </a:xfrm>
        </p:grpSpPr>
        <p:sp>
          <p:nvSpPr>
            <p:cNvPr id="49" name="TextBox 48">
              <a:extLst>
                <a:ext uri="{FF2B5EF4-FFF2-40B4-BE49-F238E27FC236}">
                  <a16:creationId xmlns:a16="http://schemas.microsoft.com/office/drawing/2014/main" id="{45017346-11A6-4770-CEFD-0EA881FAAB06}"/>
                </a:ext>
              </a:extLst>
            </p:cNvPr>
            <p:cNvSpPr txBox="1"/>
            <p:nvPr/>
          </p:nvSpPr>
          <p:spPr>
            <a:xfrm>
              <a:off x="3912178" y="4049731"/>
              <a:ext cx="1853142" cy="138499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solidFill>
                    <a:srgbClr val="9C1521"/>
                  </a:solidFill>
                  <a:latin typeface="Arial" panose="020B0604020202020204" pitchFamily="34" charset="0"/>
                  <a:cs typeface="Arial" panose="020B0604020202020204" pitchFamily="34" charset="0"/>
                  <a:sym typeface="Arial"/>
                </a:rPr>
                <a:t>Map all stakeholders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that could come together to solve this problem, including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Funding partners</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Delivery partners</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Data partners</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Education partners</a:t>
              </a:r>
            </a:p>
          </p:txBody>
        </p:sp>
        <p:sp>
          <p:nvSpPr>
            <p:cNvPr id="50" name="TextBox 49">
              <a:extLst>
                <a:ext uri="{FF2B5EF4-FFF2-40B4-BE49-F238E27FC236}">
                  <a16:creationId xmlns:a16="http://schemas.microsoft.com/office/drawing/2014/main" id="{6FE0C7CE-2F13-738B-3214-9D37010A369F}"/>
                </a:ext>
              </a:extLst>
            </p:cNvPr>
            <p:cNvSpPr txBox="1"/>
            <p:nvPr/>
          </p:nvSpPr>
          <p:spPr>
            <a:xfrm>
              <a:off x="5724436" y="4049731"/>
              <a:ext cx="1764820" cy="138499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50" b="1" i="0" u="none" strike="noStrike" kern="0" cap="none" spc="0" normalizeH="0" baseline="0" noProof="0">
                  <a:ln>
                    <a:noFill/>
                  </a:ln>
                  <a:solidFill>
                    <a:srgbClr val="EAB200"/>
                  </a:solidFill>
                  <a:effectLst/>
                  <a:uLnTx/>
                  <a:uFillTx/>
                  <a:latin typeface="Arial" panose="020B0604020202020204" pitchFamily="34" charset="0"/>
                  <a:cs typeface="Arial" panose="020B0604020202020204" pitchFamily="34" charset="0"/>
                  <a:sym typeface="Arial"/>
                </a:rPr>
                <a:t>Define drivers, opportunities </a:t>
              </a:r>
              <a:r>
                <a:rPr kumimoji="0" lang="en-GB"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nd responsibilities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for each stakeholder group to be considered within the Partnership Ecosystem for Flex Direct. </a:t>
              </a:r>
            </a:p>
          </p:txBody>
        </p:sp>
        <p:sp>
          <p:nvSpPr>
            <p:cNvPr id="51" name="TextBox 50">
              <a:extLst>
                <a:ext uri="{FF2B5EF4-FFF2-40B4-BE49-F238E27FC236}">
                  <a16:creationId xmlns:a16="http://schemas.microsoft.com/office/drawing/2014/main" id="{BBB99058-6152-0EEE-C7B3-4BA42878DD81}"/>
                </a:ext>
              </a:extLst>
            </p:cNvPr>
            <p:cNvSpPr txBox="1"/>
            <p:nvPr/>
          </p:nvSpPr>
          <p:spPr>
            <a:xfrm>
              <a:off x="7627357" y="4049731"/>
              <a:ext cx="1692982" cy="106182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solidFill>
                    <a:srgbClr val="F8931E"/>
                  </a:solidFill>
                  <a:latin typeface="Arial" panose="020B0604020202020204" pitchFamily="34" charset="0"/>
                  <a:cs typeface="Arial" panose="020B0604020202020204" pitchFamily="34" charset="0"/>
                  <a:sym typeface="Arial"/>
                </a:rPr>
                <a:t>Categorise the stakeholders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latin typeface="Arial" panose="020B0604020202020204" pitchFamily="34" charset="0"/>
                  <a:cs typeface="Arial" panose="020B0604020202020204" pitchFamily="34" charset="0"/>
                  <a:sym typeface="Arial"/>
                </a:rPr>
                <a:t>into tiers to determine who would be most relevant to participate in Flex Direct and why</a:t>
              </a:r>
            </a:p>
          </p:txBody>
        </p:sp>
        <p:sp>
          <p:nvSpPr>
            <p:cNvPr id="55" name="TextBox 54">
              <a:extLst>
                <a:ext uri="{FF2B5EF4-FFF2-40B4-BE49-F238E27FC236}">
                  <a16:creationId xmlns:a16="http://schemas.microsoft.com/office/drawing/2014/main" id="{BD97A882-359D-03CA-1C17-CE703FC7B811}"/>
                </a:ext>
              </a:extLst>
            </p:cNvPr>
            <p:cNvSpPr txBox="1"/>
            <p:nvPr/>
          </p:nvSpPr>
          <p:spPr>
            <a:xfrm>
              <a:off x="508335" y="4049731"/>
              <a:ext cx="1699525" cy="186974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50" b="1" i="0" u="none" strike="noStrike" kern="0" cap="none" spc="0" normalizeH="0" baseline="0" noProof="0" dirty="0">
                  <a:ln>
                    <a:noFill/>
                  </a:ln>
                  <a:solidFill>
                    <a:srgbClr val="EAB200"/>
                  </a:solidFill>
                  <a:effectLst/>
                  <a:uLnTx/>
                  <a:uFillTx/>
                  <a:latin typeface="Arial" panose="020B0604020202020204" pitchFamily="34" charset="0"/>
                  <a:cs typeface="Arial" panose="020B0604020202020204" pitchFamily="34" charset="0"/>
                  <a:sym typeface="Arial"/>
                </a:rPr>
                <a:t>Undertake desktop research </a:t>
              </a:r>
              <a:r>
                <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on available energy efficiency funding sources for Local Authorities and Social Housing Providers (including size, specifications and funding timelines) across UK Power Networks’ area</a:t>
              </a:r>
            </a:p>
          </p:txBody>
        </p:sp>
        <p:sp>
          <p:nvSpPr>
            <p:cNvPr id="56" name="TextBox 55">
              <a:extLst>
                <a:ext uri="{FF2B5EF4-FFF2-40B4-BE49-F238E27FC236}">
                  <a16:creationId xmlns:a16="http://schemas.microsoft.com/office/drawing/2014/main" id="{F1A1230E-C48D-9A94-4BB8-1CB3B0FCAB0C}"/>
                </a:ext>
              </a:extLst>
            </p:cNvPr>
            <p:cNvSpPr txBox="1"/>
            <p:nvPr/>
          </p:nvSpPr>
          <p:spPr>
            <a:xfrm>
              <a:off x="2097659" y="4063151"/>
              <a:ext cx="1944338" cy="170816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50" b="1" i="0" u="none" strike="noStrike" kern="0" cap="none" spc="0" normalizeH="0" baseline="0" noProof="0">
                  <a:ln>
                    <a:noFill/>
                  </a:ln>
                  <a:solidFill>
                    <a:srgbClr val="F8931E"/>
                  </a:solidFill>
                  <a:effectLst/>
                  <a:uLnTx/>
                  <a:uFillTx/>
                  <a:latin typeface="Arial" panose="020B0604020202020204" pitchFamily="34" charset="0"/>
                  <a:cs typeface="Arial" panose="020B0604020202020204" pitchFamily="34" charset="0"/>
                  <a:sym typeface="Arial"/>
                </a:rPr>
                <a:t>Develop a vision statement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To create a partnership ecosystem that aligns relevant stakeholders across the energy efficiency and flexibility value chain to deliver improved outcomes for the network, supply chain and end-consumers”</a:t>
              </a:r>
            </a:p>
          </p:txBody>
        </p:sp>
        <p:sp>
          <p:nvSpPr>
            <p:cNvPr id="65" name="TextBox 64">
              <a:extLst>
                <a:ext uri="{FF2B5EF4-FFF2-40B4-BE49-F238E27FC236}">
                  <a16:creationId xmlns:a16="http://schemas.microsoft.com/office/drawing/2014/main" id="{D29E4F75-0921-D94F-6FAE-5B973ABDC305}"/>
                </a:ext>
              </a:extLst>
            </p:cNvPr>
            <p:cNvSpPr txBox="1"/>
            <p:nvPr/>
          </p:nvSpPr>
          <p:spPr>
            <a:xfrm>
              <a:off x="9469774" y="4049731"/>
              <a:ext cx="1639504" cy="122341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GB" sz="1050" b="1" kern="0">
                  <a:solidFill>
                    <a:srgbClr val="9C1521"/>
                  </a:solidFill>
                  <a:latin typeface="Arial" panose="020B0604020202020204" pitchFamily="34" charset="0"/>
                  <a:cs typeface="Arial" panose="020B0604020202020204" pitchFamily="34" charset="0"/>
                  <a:sym typeface="Arial"/>
                </a:rPr>
                <a:t>Complete a proof of concept </a:t>
              </a:r>
              <a:r>
                <a:rPr lang="en-GB" sz="1050" b="1" kern="0">
                  <a:latin typeface="Arial" panose="020B0604020202020204" pitchFamily="34" charset="0"/>
                  <a:cs typeface="Arial" panose="020B0604020202020204" pitchFamily="34" charset="0"/>
                  <a:sym typeface="Arial"/>
                </a:rPr>
                <a:t>for each partner in the ecosystem to be explored in Alpha and how to address current limitations</a:t>
              </a:r>
            </a:p>
          </p:txBody>
        </p:sp>
        <p:sp>
          <p:nvSpPr>
            <p:cNvPr id="5" name="Arrow: Pentagon 4">
              <a:extLst>
                <a:ext uri="{FF2B5EF4-FFF2-40B4-BE49-F238E27FC236}">
                  <a16:creationId xmlns:a16="http://schemas.microsoft.com/office/drawing/2014/main" id="{40D37AD1-65C1-4B49-7910-BD86E28189BE}"/>
                </a:ext>
              </a:extLst>
            </p:cNvPr>
            <p:cNvSpPr/>
            <p:nvPr/>
          </p:nvSpPr>
          <p:spPr>
            <a:xfrm>
              <a:off x="681683" y="2973186"/>
              <a:ext cx="1680752" cy="1012016"/>
            </a:xfrm>
            <a:prstGeom prst="homePlate">
              <a:avLst/>
            </a:prstGeom>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34" name="Arrow: Chevron 33">
              <a:extLst>
                <a:ext uri="{FF2B5EF4-FFF2-40B4-BE49-F238E27FC236}">
                  <a16:creationId xmlns:a16="http://schemas.microsoft.com/office/drawing/2014/main" id="{575D7A93-0C69-AA98-3264-4DE51103D0FA}"/>
                </a:ext>
              </a:extLst>
            </p:cNvPr>
            <p:cNvSpPr/>
            <p:nvPr/>
          </p:nvSpPr>
          <p:spPr>
            <a:xfrm>
              <a:off x="2026478" y="2964590"/>
              <a:ext cx="2146819" cy="1012016"/>
            </a:xfrm>
            <a:prstGeom prst="chevron">
              <a:avLst/>
            </a:prstGeom>
            <a:solidFill>
              <a:srgbClr val="F893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35" name="Arrow: Chevron 34">
              <a:extLst>
                <a:ext uri="{FF2B5EF4-FFF2-40B4-BE49-F238E27FC236}">
                  <a16:creationId xmlns:a16="http://schemas.microsoft.com/office/drawing/2014/main" id="{251E7076-1852-1664-A0D1-676E3CCF7955}"/>
                </a:ext>
              </a:extLst>
            </p:cNvPr>
            <p:cNvSpPr/>
            <p:nvPr/>
          </p:nvSpPr>
          <p:spPr>
            <a:xfrm>
              <a:off x="3843292" y="2979124"/>
              <a:ext cx="2204315" cy="1012016"/>
            </a:xfrm>
            <a:prstGeom prst="chevron">
              <a:avLst/>
            </a:prstGeom>
            <a:solidFill>
              <a:srgbClr val="9C15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36" name="Arrow: Chevron 35">
              <a:extLst>
                <a:ext uri="{FF2B5EF4-FFF2-40B4-BE49-F238E27FC236}">
                  <a16:creationId xmlns:a16="http://schemas.microsoft.com/office/drawing/2014/main" id="{5F31C1E7-3015-ED43-AA84-3BFBCA432C90}"/>
                </a:ext>
              </a:extLst>
            </p:cNvPr>
            <p:cNvSpPr/>
            <p:nvPr/>
          </p:nvSpPr>
          <p:spPr>
            <a:xfrm>
              <a:off x="5724436" y="2964590"/>
              <a:ext cx="2204314" cy="1012016"/>
            </a:xfrm>
            <a:prstGeom prst="chevron">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37" name="Arrow: Chevron 36">
              <a:extLst>
                <a:ext uri="{FF2B5EF4-FFF2-40B4-BE49-F238E27FC236}">
                  <a16:creationId xmlns:a16="http://schemas.microsoft.com/office/drawing/2014/main" id="{A25D28BC-852B-A0AC-082D-39BAB87DB030}"/>
                </a:ext>
              </a:extLst>
            </p:cNvPr>
            <p:cNvSpPr/>
            <p:nvPr/>
          </p:nvSpPr>
          <p:spPr>
            <a:xfrm>
              <a:off x="7594719" y="2971857"/>
              <a:ext cx="2111929" cy="1012016"/>
            </a:xfrm>
            <a:prstGeom prst="chevron">
              <a:avLst/>
            </a:prstGeom>
            <a:solidFill>
              <a:srgbClr val="F893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pic>
          <p:nvPicPr>
            <p:cNvPr id="39" name="Graphic 38" descr="Research outline">
              <a:extLst>
                <a:ext uri="{FF2B5EF4-FFF2-40B4-BE49-F238E27FC236}">
                  <a16:creationId xmlns:a16="http://schemas.microsoft.com/office/drawing/2014/main" id="{63FD3EBF-8ABC-8650-AB4E-55C04570FD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5607" y="2397063"/>
              <a:ext cx="516452" cy="516452"/>
            </a:xfrm>
            <a:prstGeom prst="rect">
              <a:avLst/>
            </a:prstGeom>
            <a:effectLst>
              <a:glow rad="101600">
                <a:schemeClr val="accent4">
                  <a:lumMod val="20000"/>
                  <a:lumOff val="80000"/>
                  <a:alpha val="60000"/>
                </a:schemeClr>
              </a:glow>
            </a:effectLst>
          </p:spPr>
        </p:pic>
        <p:sp>
          <p:nvSpPr>
            <p:cNvPr id="40" name="TextBox 39">
              <a:extLst>
                <a:ext uri="{FF2B5EF4-FFF2-40B4-BE49-F238E27FC236}">
                  <a16:creationId xmlns:a16="http://schemas.microsoft.com/office/drawing/2014/main" id="{C9D3CB5A-D75B-C261-BD04-0144D35EE01D}"/>
                </a:ext>
              </a:extLst>
            </p:cNvPr>
            <p:cNvSpPr txBox="1"/>
            <p:nvPr/>
          </p:nvSpPr>
          <p:spPr>
            <a:xfrm>
              <a:off x="841328" y="3190288"/>
              <a:ext cx="1421763" cy="430887"/>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1. Desktop Research </a:t>
              </a:r>
            </a:p>
          </p:txBody>
        </p:sp>
        <p:sp>
          <p:nvSpPr>
            <p:cNvPr id="41" name="TextBox 40">
              <a:extLst>
                <a:ext uri="{FF2B5EF4-FFF2-40B4-BE49-F238E27FC236}">
                  <a16:creationId xmlns:a16="http://schemas.microsoft.com/office/drawing/2014/main" id="{D4F4D171-66E3-3263-5C51-3DAAA710A094}"/>
                </a:ext>
              </a:extLst>
            </p:cNvPr>
            <p:cNvSpPr txBox="1"/>
            <p:nvPr/>
          </p:nvSpPr>
          <p:spPr>
            <a:xfrm>
              <a:off x="2601281" y="3190288"/>
              <a:ext cx="1367101" cy="430887"/>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2. Vision Statement</a:t>
              </a:r>
            </a:p>
          </p:txBody>
        </p:sp>
        <p:sp>
          <p:nvSpPr>
            <p:cNvPr id="42" name="TextBox 41">
              <a:extLst>
                <a:ext uri="{FF2B5EF4-FFF2-40B4-BE49-F238E27FC236}">
                  <a16:creationId xmlns:a16="http://schemas.microsoft.com/office/drawing/2014/main" id="{04A8D9EA-6F79-D485-0AAA-509C22A2501D}"/>
                </a:ext>
              </a:extLst>
            </p:cNvPr>
            <p:cNvSpPr txBox="1"/>
            <p:nvPr/>
          </p:nvSpPr>
          <p:spPr>
            <a:xfrm>
              <a:off x="4342224" y="3190288"/>
              <a:ext cx="1367101" cy="430887"/>
            </a:xfrm>
            <a:prstGeom prst="rect">
              <a:avLst/>
            </a:prstGeom>
            <a:no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3. Stakeholder</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Mapping </a:t>
              </a:r>
            </a:p>
          </p:txBody>
        </p:sp>
        <p:sp>
          <p:nvSpPr>
            <p:cNvPr id="43" name="TextBox 42">
              <a:extLst>
                <a:ext uri="{FF2B5EF4-FFF2-40B4-BE49-F238E27FC236}">
                  <a16:creationId xmlns:a16="http://schemas.microsoft.com/office/drawing/2014/main" id="{81781AFC-4698-0E4C-E609-EDA64C279EB0}"/>
                </a:ext>
              </a:extLst>
            </p:cNvPr>
            <p:cNvSpPr txBox="1"/>
            <p:nvPr/>
          </p:nvSpPr>
          <p:spPr>
            <a:xfrm>
              <a:off x="8150706" y="3190288"/>
              <a:ext cx="1367101" cy="430887"/>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5. Categorise Stakeholders</a:t>
              </a:r>
            </a:p>
          </p:txBody>
        </p:sp>
        <p:sp>
          <p:nvSpPr>
            <p:cNvPr id="45" name="TextBox 44">
              <a:extLst>
                <a:ext uri="{FF2B5EF4-FFF2-40B4-BE49-F238E27FC236}">
                  <a16:creationId xmlns:a16="http://schemas.microsoft.com/office/drawing/2014/main" id="{CDBBECFF-621D-6620-85C8-3CB58059A510}"/>
                </a:ext>
              </a:extLst>
            </p:cNvPr>
            <p:cNvSpPr txBox="1"/>
            <p:nvPr/>
          </p:nvSpPr>
          <p:spPr>
            <a:xfrm>
              <a:off x="6050590" y="3190736"/>
              <a:ext cx="1641925" cy="430887"/>
            </a:xfrm>
            <a:prstGeom prst="rect">
              <a:avLst/>
            </a:prstGeom>
            <a:no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4. </a:t>
              </a:r>
              <a:r>
                <a:rPr lang="en-GB" sz="1100" b="1" kern="0">
                  <a:latin typeface="Arial" panose="020B0604020202020204" pitchFamily="34" charset="0"/>
                  <a:cs typeface="Arial" panose="020B0604020202020204" pitchFamily="34" charset="0"/>
                  <a:sym typeface="Arial"/>
                </a:rPr>
                <a:t>Determine needs and motivations</a:t>
              </a:r>
              <a:endParaRPr kumimoji="0" lang="en-GB" sz="11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46" name="Arrow: Pentagon 23">
              <a:extLst>
                <a:ext uri="{FF2B5EF4-FFF2-40B4-BE49-F238E27FC236}">
                  <a16:creationId xmlns:a16="http://schemas.microsoft.com/office/drawing/2014/main" id="{A316A3DB-A442-8D24-B0C8-2F02E644BD82}"/>
                </a:ext>
              </a:extLst>
            </p:cNvPr>
            <p:cNvSpPr/>
            <p:nvPr/>
          </p:nvSpPr>
          <p:spPr>
            <a:xfrm rot="10800000">
              <a:off x="9359590" y="2964590"/>
              <a:ext cx="1444805" cy="1026550"/>
            </a:xfrm>
            <a:custGeom>
              <a:avLst/>
              <a:gdLst>
                <a:gd name="connsiteX0" fmla="*/ 0 w 1247005"/>
                <a:gd name="connsiteY0" fmla="*/ 0 h 759012"/>
                <a:gd name="connsiteX1" fmla="*/ 867499 w 1247005"/>
                <a:gd name="connsiteY1" fmla="*/ 0 h 759012"/>
                <a:gd name="connsiteX2" fmla="*/ 1247005 w 1247005"/>
                <a:gd name="connsiteY2" fmla="*/ 379506 h 759012"/>
                <a:gd name="connsiteX3" fmla="*/ 867499 w 1247005"/>
                <a:gd name="connsiteY3" fmla="*/ 759012 h 759012"/>
                <a:gd name="connsiteX4" fmla="*/ 0 w 1247005"/>
                <a:gd name="connsiteY4" fmla="*/ 759012 h 759012"/>
                <a:gd name="connsiteX5" fmla="*/ 0 w 1247005"/>
                <a:gd name="connsiteY5" fmla="*/ 0 h 759012"/>
                <a:gd name="connsiteX0" fmla="*/ 0 w 867499"/>
                <a:gd name="connsiteY0" fmla="*/ 0 h 759012"/>
                <a:gd name="connsiteX1" fmla="*/ 867499 w 867499"/>
                <a:gd name="connsiteY1" fmla="*/ 0 h 759012"/>
                <a:gd name="connsiteX2" fmla="*/ 547965 w 867499"/>
                <a:gd name="connsiteY2" fmla="*/ 375976 h 759012"/>
                <a:gd name="connsiteX3" fmla="*/ 867499 w 867499"/>
                <a:gd name="connsiteY3" fmla="*/ 759012 h 759012"/>
                <a:gd name="connsiteX4" fmla="*/ 0 w 867499"/>
                <a:gd name="connsiteY4" fmla="*/ 759012 h 759012"/>
                <a:gd name="connsiteX5" fmla="*/ 0 w 867499"/>
                <a:gd name="connsiteY5" fmla="*/ 0 h 7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499" h="759012">
                  <a:moveTo>
                    <a:pt x="0" y="0"/>
                  </a:moveTo>
                  <a:lnTo>
                    <a:pt x="867499" y="0"/>
                  </a:lnTo>
                  <a:lnTo>
                    <a:pt x="547965" y="375976"/>
                  </a:lnTo>
                  <a:lnTo>
                    <a:pt x="867499" y="759012"/>
                  </a:lnTo>
                  <a:lnTo>
                    <a:pt x="0" y="759012"/>
                  </a:lnTo>
                  <a:lnTo>
                    <a:pt x="0" y="0"/>
                  </a:lnTo>
                  <a:close/>
                </a:path>
              </a:pathLst>
            </a:custGeom>
            <a:solidFill>
              <a:srgbClr val="9C1521"/>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6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47" name="TextBox 46">
              <a:extLst>
                <a:ext uri="{FF2B5EF4-FFF2-40B4-BE49-F238E27FC236}">
                  <a16:creationId xmlns:a16="http://schemas.microsoft.com/office/drawing/2014/main" id="{8B223FD6-B55E-546B-9F48-6D9A1715D890}"/>
                </a:ext>
              </a:extLst>
            </p:cNvPr>
            <p:cNvSpPr txBox="1"/>
            <p:nvPr/>
          </p:nvSpPr>
          <p:spPr>
            <a:xfrm>
              <a:off x="9916102" y="3190288"/>
              <a:ext cx="1191569" cy="430887"/>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6. </a:t>
              </a:r>
              <a:r>
                <a:rPr lang="en-GB" sz="1100" b="1" kern="0">
                  <a:solidFill>
                    <a:schemeClr val="bg1"/>
                  </a:solidFill>
                  <a:latin typeface="Arial" panose="020B0604020202020204" pitchFamily="34" charset="0"/>
                  <a:cs typeface="Arial" panose="020B0604020202020204" pitchFamily="34" charset="0"/>
                  <a:sym typeface="Arial"/>
                </a:rPr>
                <a:t>Milestone complete</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p:txBody>
        </p:sp>
        <p:pic>
          <p:nvPicPr>
            <p:cNvPr id="48" name="Graphic 47" descr="Race Flag outline">
              <a:extLst>
                <a:ext uri="{FF2B5EF4-FFF2-40B4-BE49-F238E27FC236}">
                  <a16:creationId xmlns:a16="http://schemas.microsoft.com/office/drawing/2014/main" id="{1B23B2B0-63AF-1F04-1E27-C6E3CD9D62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65731" y="2285957"/>
              <a:ext cx="738664" cy="738664"/>
            </a:xfrm>
            <a:prstGeom prst="rect">
              <a:avLst/>
            </a:prstGeom>
            <a:effectLst>
              <a:glow rad="101600">
                <a:schemeClr val="accent4">
                  <a:lumMod val="20000"/>
                  <a:lumOff val="80000"/>
                  <a:alpha val="60000"/>
                </a:schemeClr>
              </a:glow>
            </a:effectLst>
          </p:spPr>
        </p:pic>
        <p:pic>
          <p:nvPicPr>
            <p:cNvPr id="53" name="Graphic 52" descr="Users outline">
              <a:extLst>
                <a:ext uri="{FF2B5EF4-FFF2-40B4-BE49-F238E27FC236}">
                  <a16:creationId xmlns:a16="http://schemas.microsoft.com/office/drawing/2014/main" id="{F0E21D5A-A17A-C7D3-808B-D0A59B677C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74678" y="2297291"/>
              <a:ext cx="715996" cy="715996"/>
            </a:xfrm>
            <a:prstGeom prst="rect">
              <a:avLst/>
            </a:prstGeom>
            <a:effectLst>
              <a:glow rad="101600">
                <a:schemeClr val="accent4">
                  <a:lumMod val="20000"/>
                  <a:lumOff val="80000"/>
                  <a:alpha val="60000"/>
                </a:schemeClr>
              </a:glow>
            </a:effectLst>
          </p:spPr>
        </p:pic>
        <p:pic>
          <p:nvPicPr>
            <p:cNvPr id="4" name="Graphic 3" descr="Lightbulb and gear with solid fill">
              <a:extLst>
                <a:ext uri="{FF2B5EF4-FFF2-40B4-BE49-F238E27FC236}">
                  <a16:creationId xmlns:a16="http://schemas.microsoft.com/office/drawing/2014/main" id="{DA1357A5-51B1-131D-DA46-1AD6ACD0AD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88109" y="2395450"/>
              <a:ext cx="519679" cy="519679"/>
            </a:xfrm>
            <a:prstGeom prst="rect">
              <a:avLst/>
            </a:prstGeom>
            <a:effectLst>
              <a:glow rad="101600">
                <a:schemeClr val="accent4">
                  <a:lumMod val="20000"/>
                  <a:lumOff val="80000"/>
                  <a:alpha val="60000"/>
                </a:schemeClr>
              </a:glow>
            </a:effectLst>
          </p:spPr>
        </p:pic>
        <p:pic>
          <p:nvPicPr>
            <p:cNvPr id="8" name="Graphic 7" descr="Presentation with checklist with solid fill">
              <a:extLst>
                <a:ext uri="{FF2B5EF4-FFF2-40B4-BE49-F238E27FC236}">
                  <a16:creationId xmlns:a16="http://schemas.microsoft.com/office/drawing/2014/main" id="{E7EEAC9C-7ACB-9684-B77C-1C10405AAB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77162" y="2389491"/>
              <a:ext cx="531596" cy="531596"/>
            </a:xfrm>
            <a:prstGeom prst="rect">
              <a:avLst/>
            </a:prstGeom>
            <a:effectLst>
              <a:glow rad="101600">
                <a:schemeClr val="accent4">
                  <a:lumMod val="20000"/>
                  <a:lumOff val="80000"/>
                  <a:alpha val="60000"/>
                </a:schemeClr>
              </a:glow>
            </a:effectLst>
          </p:spPr>
        </p:pic>
        <p:pic>
          <p:nvPicPr>
            <p:cNvPr id="9" name="Graphic 8" descr="Users outline">
              <a:extLst>
                <a:ext uri="{FF2B5EF4-FFF2-40B4-BE49-F238E27FC236}">
                  <a16:creationId xmlns:a16="http://schemas.microsoft.com/office/drawing/2014/main" id="{45B74C2B-F84E-646E-E07E-42077B29AA4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88021" y="2297291"/>
              <a:ext cx="715996" cy="715996"/>
            </a:xfrm>
            <a:prstGeom prst="rect">
              <a:avLst/>
            </a:prstGeom>
            <a:effectLst>
              <a:glow rad="101600">
                <a:schemeClr val="accent4">
                  <a:lumMod val="20000"/>
                  <a:lumOff val="80000"/>
                  <a:alpha val="60000"/>
                </a:schemeClr>
              </a:glow>
            </a:effectLst>
          </p:spPr>
        </p:pic>
      </p:grpSp>
      <p:pic>
        <p:nvPicPr>
          <p:cNvPr id="7" name="Picture 6" descr="Sia Partners Introduces SiaGPT | Business Wire">
            <a:extLst>
              <a:ext uri="{FF2B5EF4-FFF2-40B4-BE49-F238E27FC236}">
                <a16:creationId xmlns:a16="http://schemas.microsoft.com/office/drawing/2014/main" id="{C012D9F5-109E-D6BC-8298-7B7ED7DC1B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3AFCA51-CA81-3152-1B5E-63C0B4A3A46F}"/>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8739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142" name="Rectangle 141">
            <a:extLst>
              <a:ext uri="{FF2B5EF4-FFF2-40B4-BE49-F238E27FC236}">
                <a16:creationId xmlns:a16="http://schemas.microsoft.com/office/drawing/2014/main" id="{9DE92BB9-0E6E-A2F6-726C-9E18631E2A74}"/>
              </a:ext>
            </a:extLst>
          </p:cNvPr>
          <p:cNvSpPr/>
          <p:nvPr/>
        </p:nvSpPr>
        <p:spPr>
          <a:xfrm>
            <a:off x="9216959" y="4995932"/>
            <a:ext cx="2825340" cy="15481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a:bodyPr>
          <a:lstStyle/>
          <a:p>
            <a:r>
              <a:rPr lang="en-GB" sz="2800" dirty="0"/>
              <a:t>Work Package 3: Stakeholder Mapping </a:t>
            </a:r>
          </a:p>
        </p:txBody>
      </p:sp>
      <p:sp>
        <p:nvSpPr>
          <p:cNvPr id="3" name="TextBox 2">
            <a:extLst>
              <a:ext uri="{FF2B5EF4-FFF2-40B4-BE49-F238E27FC236}">
                <a16:creationId xmlns:a16="http://schemas.microsoft.com/office/drawing/2014/main" id="{1A0FEEB7-4E76-207D-B83D-ACC17F8F7C6A}"/>
              </a:ext>
            </a:extLst>
          </p:cNvPr>
          <p:cNvSpPr txBox="1"/>
          <p:nvPr/>
        </p:nvSpPr>
        <p:spPr>
          <a:xfrm>
            <a:off x="800100" y="2641236"/>
            <a:ext cx="4068000" cy="938719"/>
          </a:xfrm>
          <a:prstGeom prst="rect">
            <a:avLst/>
          </a:prstGeom>
          <a:noFill/>
          <a:ln w="19050">
            <a:solidFill>
              <a:schemeClr val="accent2">
                <a:lumMod val="75000"/>
              </a:schemeClr>
            </a:solid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F841363-A543-6B33-AB56-05C8B28A6300}"/>
              </a:ext>
            </a:extLst>
          </p:cNvPr>
          <p:cNvSpPr/>
          <p:nvPr/>
        </p:nvSpPr>
        <p:spPr>
          <a:xfrm>
            <a:off x="998510" y="1969132"/>
            <a:ext cx="3702164" cy="411612"/>
          </a:xfrm>
          <a:prstGeom prst="rect">
            <a:avLst/>
          </a:prstGeom>
          <a:solidFill>
            <a:srgbClr val="F8931E"/>
          </a:solidFill>
          <a:ln>
            <a:noFill/>
          </a:ln>
          <a:effectLst>
            <a:glow rad="1016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tx1">
                    <a:lumMod val="85000"/>
                    <a:lumOff val="15000"/>
                  </a:schemeClr>
                </a:solidFill>
                <a:latin typeface="Arial" panose="020B0604020202020204" pitchFamily="34" charset="0"/>
                <a:cs typeface="Arial" panose="020B0604020202020204" pitchFamily="34" charset="0"/>
              </a:rPr>
              <a:t>Key Questions to consider</a:t>
            </a:r>
          </a:p>
        </p:txBody>
      </p:sp>
      <p:sp>
        <p:nvSpPr>
          <p:cNvPr id="13" name="TextBox 12">
            <a:extLst>
              <a:ext uri="{FF2B5EF4-FFF2-40B4-BE49-F238E27FC236}">
                <a16:creationId xmlns:a16="http://schemas.microsoft.com/office/drawing/2014/main" id="{46257170-9E34-27D8-F5EF-1F2E2033A7FE}"/>
              </a:ext>
            </a:extLst>
          </p:cNvPr>
          <p:cNvSpPr txBox="1"/>
          <p:nvPr/>
        </p:nvSpPr>
        <p:spPr>
          <a:xfrm>
            <a:off x="910809" y="2667069"/>
            <a:ext cx="393651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tx1">
                    <a:lumMod val="85000"/>
                    <a:lumOff val="15000"/>
                  </a:schemeClr>
                </a:solidFill>
                <a:latin typeface="Arial" panose="020B0604020202020204" pitchFamily="34" charset="0"/>
                <a:cs typeface="Arial" panose="020B0604020202020204" pitchFamily="34" charset="0"/>
              </a:rPr>
              <a:t>Which stakeholders’ </a:t>
            </a:r>
            <a:r>
              <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own business needs align </a:t>
            </a:r>
            <a:r>
              <a:rPr lang="en-GB" sz="1100" b="1">
                <a:solidFill>
                  <a:schemeClr val="tx1">
                    <a:lumMod val="85000"/>
                    <a:lumOff val="15000"/>
                  </a:schemeClr>
                </a:solidFill>
                <a:latin typeface="Arial" panose="020B0604020202020204" pitchFamily="34" charset="0"/>
                <a:cs typeface="Arial" panose="020B0604020202020204" pitchFamily="34" charset="0"/>
              </a:rPr>
              <a:t>most strongly with Sustain (from Energy Efficiency) to increase the likelihood of </a:t>
            </a:r>
            <a:r>
              <a:rPr lang="en-GB" sz="1100" b="1">
                <a:solidFill>
                  <a:srgbClr val="C00000"/>
                </a:solidFill>
                <a:latin typeface="Arial" panose="020B0604020202020204" pitchFamily="34" charset="0"/>
                <a:cs typeface="Arial" panose="020B0604020202020204" pitchFamily="34" charset="0"/>
              </a:rPr>
              <a:t>favourable outcomes for the network and end-consumers?</a:t>
            </a:r>
          </a:p>
        </p:txBody>
      </p:sp>
      <p:sp>
        <p:nvSpPr>
          <p:cNvPr id="14" name="TextBox 13">
            <a:extLst>
              <a:ext uri="{FF2B5EF4-FFF2-40B4-BE49-F238E27FC236}">
                <a16:creationId xmlns:a16="http://schemas.microsoft.com/office/drawing/2014/main" id="{83C24A4C-41ED-3319-BAC2-1BA8D32DDE1A}"/>
              </a:ext>
            </a:extLst>
          </p:cNvPr>
          <p:cNvSpPr txBox="1"/>
          <p:nvPr/>
        </p:nvSpPr>
        <p:spPr>
          <a:xfrm>
            <a:off x="788892" y="3737390"/>
            <a:ext cx="4068000" cy="938719"/>
          </a:xfrm>
          <a:prstGeom prst="rect">
            <a:avLst/>
          </a:prstGeom>
          <a:noFill/>
          <a:ln w="19050">
            <a:solidFill>
              <a:schemeClr val="accent2">
                <a:lumMod val="75000"/>
              </a:schemeClr>
            </a:solid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EAD6FCCF-015E-8935-581C-38A1463DB77E}"/>
              </a:ext>
            </a:extLst>
          </p:cNvPr>
          <p:cNvSpPr txBox="1"/>
          <p:nvPr/>
        </p:nvSpPr>
        <p:spPr>
          <a:xfrm>
            <a:off x="892743" y="3771891"/>
            <a:ext cx="393651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Which stakeholders are </a:t>
            </a:r>
            <a:r>
              <a:rPr lang="en-GB" sz="1100" b="1">
                <a:solidFill>
                  <a:srgbClr val="C00000"/>
                </a:solidFill>
                <a:latin typeface="Arial" panose="020B0604020202020204" pitchFamily="34" charset="0"/>
                <a:cs typeface="Arial" panose="020B0604020202020204" pitchFamily="34" charset="0"/>
              </a:rPr>
              <a:t>key decision makers </a:t>
            </a:r>
            <a:r>
              <a:rPr lang="en-GB" sz="1100" b="1">
                <a:solidFill>
                  <a:schemeClr val="tx1">
                    <a:lumMod val="85000"/>
                    <a:lumOff val="15000"/>
                  </a:schemeClr>
                </a:solidFill>
                <a:latin typeface="Arial" panose="020B0604020202020204" pitchFamily="34" charset="0"/>
                <a:cs typeface="Arial" panose="020B0604020202020204" pitchFamily="34" charset="0"/>
              </a:rPr>
              <a:t>within the energy efficiency and flexibility supply chain who could readily mobilise solutions that will </a:t>
            </a:r>
            <a:r>
              <a:rPr lang="en-GB" sz="1100" b="1">
                <a:solidFill>
                  <a:srgbClr val="C00000"/>
                </a:solidFill>
                <a:latin typeface="Arial" panose="020B0604020202020204" pitchFamily="34" charset="0"/>
                <a:cs typeface="Arial" panose="020B0604020202020204" pitchFamily="34" charset="0"/>
              </a:rPr>
              <a:t>target the increased provision of energy efficiency flexibility? </a:t>
            </a:r>
          </a:p>
        </p:txBody>
      </p:sp>
      <p:sp>
        <p:nvSpPr>
          <p:cNvPr id="16" name="TextBox 15">
            <a:extLst>
              <a:ext uri="{FF2B5EF4-FFF2-40B4-BE49-F238E27FC236}">
                <a16:creationId xmlns:a16="http://schemas.microsoft.com/office/drawing/2014/main" id="{F48E4F71-3657-A9F1-FC03-C365D099322E}"/>
              </a:ext>
            </a:extLst>
          </p:cNvPr>
          <p:cNvSpPr txBox="1"/>
          <p:nvPr/>
        </p:nvSpPr>
        <p:spPr>
          <a:xfrm>
            <a:off x="788989" y="4820834"/>
            <a:ext cx="4068000" cy="938719"/>
          </a:xfrm>
          <a:prstGeom prst="rect">
            <a:avLst/>
          </a:prstGeom>
          <a:noFill/>
          <a:ln w="19050">
            <a:solidFill>
              <a:schemeClr val="accent2">
                <a:lumMod val="75000"/>
              </a:schemeClr>
            </a:solid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tx1">
                  <a:lumMod val="85000"/>
                  <a:lumOff val="15000"/>
                </a:schemeClr>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AF9308B8-B425-4CFB-715A-1F710848939B}"/>
              </a:ext>
            </a:extLst>
          </p:cNvPr>
          <p:cNvSpPr txBox="1"/>
          <p:nvPr/>
        </p:nvSpPr>
        <p:spPr>
          <a:xfrm>
            <a:off x="1064234" y="5004701"/>
            <a:ext cx="3575779" cy="600164"/>
          </a:xfrm>
          <a:prstGeom prst="rect">
            <a:avLst/>
          </a:prstGeom>
          <a:noFill/>
        </p:spPr>
        <p:txBody>
          <a:bodyPr wrap="square">
            <a:spAutoFit/>
          </a:bodyPr>
          <a:lstStyle/>
          <a:p>
            <a:pPr algn="ctr">
              <a:defRPr/>
            </a:pPr>
            <a:r>
              <a:rPr lang="en-GB" sz="1100" b="1" i="0" kern="1200" spc="0" baseline="0">
                <a:ln>
                  <a:noFill/>
                </a:ln>
                <a:solidFill>
                  <a:srgbClr val="C00000"/>
                </a:solidFill>
                <a:effectLst/>
                <a:latin typeface="Arial" panose="020B0604020202020204" pitchFamily="34" charset="0"/>
                <a:cs typeface="Arial" panose="020B0604020202020204" pitchFamily="34" charset="0"/>
              </a:rPr>
              <a:t>Which stakeholders </a:t>
            </a:r>
            <a:r>
              <a:rPr lang="en-GB" sz="1100" b="1" i="0" kern="1200" spc="0" baseline="0">
                <a:ln>
                  <a:noFill/>
                </a:ln>
                <a:solidFill>
                  <a:schemeClr val="tx1">
                    <a:lumMod val="85000"/>
                    <a:lumOff val="15000"/>
                  </a:schemeClr>
                </a:solidFill>
                <a:effectLst/>
                <a:latin typeface="Arial" panose="020B0604020202020204" pitchFamily="34" charset="0"/>
                <a:cs typeface="Arial" panose="020B0604020202020204" pitchFamily="34" charset="0"/>
              </a:rPr>
              <a:t>are </a:t>
            </a:r>
            <a:r>
              <a:rPr lang="en-GB" sz="1100" b="1">
                <a:solidFill>
                  <a:schemeClr val="tx1">
                    <a:lumMod val="85000"/>
                    <a:lumOff val="15000"/>
                  </a:schemeClr>
                </a:solidFill>
                <a:latin typeface="Arial" panose="020B0604020202020204" pitchFamily="34" charset="0"/>
                <a:cs typeface="Arial" panose="020B0604020202020204" pitchFamily="34" charset="0"/>
              </a:rPr>
              <a:t>likely to bring a </a:t>
            </a:r>
            <a:r>
              <a:rPr lang="en-GB" sz="1100" b="1">
                <a:solidFill>
                  <a:srgbClr val="C00000"/>
                </a:solidFill>
                <a:latin typeface="Arial" panose="020B0604020202020204" pitchFamily="34" charset="0"/>
                <a:cs typeface="Arial" panose="020B0604020202020204" pitchFamily="34" charset="0"/>
              </a:rPr>
              <a:t>greater level of impact, and lower level of risk </a:t>
            </a:r>
            <a:r>
              <a:rPr lang="en-GB" sz="1100" b="1" i="0" kern="1200" spc="0" baseline="0">
                <a:ln>
                  <a:noFill/>
                </a:ln>
                <a:solidFill>
                  <a:schemeClr val="tx1">
                    <a:lumMod val="85000"/>
                    <a:lumOff val="15000"/>
                  </a:schemeClr>
                </a:solidFill>
                <a:effectLst/>
                <a:latin typeface="Arial" panose="020B0604020202020204" pitchFamily="34" charset="0"/>
                <a:cs typeface="Arial" panose="020B0604020202020204" pitchFamily="34" charset="0"/>
              </a:rPr>
              <a:t>to this i</a:t>
            </a:r>
            <a:r>
              <a:rPr lang="en-GB" sz="1100" b="1" kern="1200">
                <a:solidFill>
                  <a:schemeClr val="tx1">
                    <a:lumMod val="85000"/>
                    <a:lumOff val="15000"/>
                  </a:schemeClr>
                </a:solidFill>
                <a:effectLst/>
                <a:latin typeface="Arial" panose="020B0604020202020204" pitchFamily="34" charset="0"/>
                <a:cs typeface="Arial" panose="020B0604020202020204" pitchFamily="34" charset="0"/>
              </a:rPr>
              <a:t>nitiative?</a:t>
            </a:r>
            <a:endParaRPr lang="en-GB" sz="1100" b="1">
              <a:solidFill>
                <a:schemeClr val="tx1">
                  <a:lumMod val="85000"/>
                  <a:lumOff val="15000"/>
                </a:schemeClr>
              </a:solidFill>
              <a:latin typeface="Arial" panose="020B0604020202020204" pitchFamily="34" charset="0"/>
              <a:cs typeface="Arial" panose="020B0604020202020204" pitchFamily="34" charset="0"/>
            </a:endParaRPr>
          </a:p>
        </p:txBody>
      </p:sp>
      <p:grpSp>
        <p:nvGrpSpPr>
          <p:cNvPr id="141" name="Group 140">
            <a:extLst>
              <a:ext uri="{FF2B5EF4-FFF2-40B4-BE49-F238E27FC236}">
                <a16:creationId xmlns:a16="http://schemas.microsoft.com/office/drawing/2014/main" id="{FE0DE150-D9A7-9122-A554-3B2E8F2AB405}"/>
              </a:ext>
            </a:extLst>
          </p:cNvPr>
          <p:cNvGrpSpPr/>
          <p:nvPr/>
        </p:nvGrpSpPr>
        <p:grpSpPr>
          <a:xfrm>
            <a:off x="4958028" y="1774339"/>
            <a:ext cx="7123940" cy="4779933"/>
            <a:chOff x="5137357" y="1972637"/>
            <a:chExt cx="7123940" cy="4779933"/>
          </a:xfrm>
        </p:grpSpPr>
        <p:sp>
          <p:nvSpPr>
            <p:cNvPr id="18" name="Oval 17">
              <a:extLst>
                <a:ext uri="{FF2B5EF4-FFF2-40B4-BE49-F238E27FC236}">
                  <a16:creationId xmlns:a16="http://schemas.microsoft.com/office/drawing/2014/main" id="{932EC01A-E05F-6A49-5E54-9999C1E1E742}"/>
                </a:ext>
              </a:extLst>
            </p:cNvPr>
            <p:cNvSpPr>
              <a:spLocks noChangeAspect="1"/>
            </p:cNvSpPr>
            <p:nvPr/>
          </p:nvSpPr>
          <p:spPr>
            <a:xfrm>
              <a:off x="6980038" y="2600824"/>
              <a:ext cx="3424214" cy="3302000"/>
            </a:xfrm>
            <a:prstGeom prst="ellipse">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B1AA258C-6B6E-0E43-B485-49052117FB25}"/>
                </a:ext>
              </a:extLst>
            </p:cNvPr>
            <p:cNvSpPr>
              <a:spLocks noChangeAspect="1" noChangeArrowheads="1"/>
            </p:cNvSpPr>
            <p:nvPr/>
          </p:nvSpPr>
          <p:spPr bwMode="auto">
            <a:xfrm>
              <a:off x="7561939" y="2489379"/>
              <a:ext cx="626440" cy="617098"/>
            </a:xfrm>
            <a:prstGeom prst="ellipse">
              <a:avLst/>
            </a:prstGeom>
            <a:solidFill>
              <a:srgbClr val="BD281E"/>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0" name="Oval 4">
              <a:extLst>
                <a:ext uri="{FF2B5EF4-FFF2-40B4-BE49-F238E27FC236}">
                  <a16:creationId xmlns:a16="http://schemas.microsoft.com/office/drawing/2014/main" id="{12F7C755-490B-16B7-25A5-EA1BBACE9D1C}"/>
                </a:ext>
              </a:extLst>
            </p:cNvPr>
            <p:cNvSpPr>
              <a:spLocks noChangeAspect="1" noChangeArrowheads="1"/>
            </p:cNvSpPr>
            <p:nvPr/>
          </p:nvSpPr>
          <p:spPr bwMode="auto">
            <a:xfrm>
              <a:off x="7997752" y="5570361"/>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1" name="Oval 4">
              <a:extLst>
                <a:ext uri="{FF2B5EF4-FFF2-40B4-BE49-F238E27FC236}">
                  <a16:creationId xmlns:a16="http://schemas.microsoft.com/office/drawing/2014/main" id="{7AC75C77-BB40-4849-4FFD-E4ED380E3E66}"/>
                </a:ext>
              </a:extLst>
            </p:cNvPr>
            <p:cNvSpPr>
              <a:spLocks noChangeAspect="1" noChangeArrowheads="1"/>
            </p:cNvSpPr>
            <p:nvPr/>
          </p:nvSpPr>
          <p:spPr bwMode="auto">
            <a:xfrm>
              <a:off x="6810012" y="4506560"/>
              <a:ext cx="626440" cy="617098"/>
            </a:xfrm>
            <a:prstGeom prst="ellipse">
              <a:avLst/>
            </a:prstGeom>
            <a:solidFill>
              <a:schemeClr val="accent4"/>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01CC7A12-2304-DB40-DECA-CEAA5E40C9B5}"/>
                </a:ext>
              </a:extLst>
            </p:cNvPr>
            <p:cNvSpPr>
              <a:spLocks noChangeAspect="1" noChangeArrowheads="1"/>
            </p:cNvSpPr>
            <p:nvPr/>
          </p:nvSpPr>
          <p:spPr bwMode="auto">
            <a:xfrm>
              <a:off x="9588587" y="5162816"/>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1B4DA743-EAEC-1BBA-1160-1FC44EDED902}"/>
                </a:ext>
              </a:extLst>
            </p:cNvPr>
            <p:cNvSpPr>
              <a:spLocks noChangeAspect="1" noChangeArrowheads="1"/>
            </p:cNvSpPr>
            <p:nvPr/>
          </p:nvSpPr>
          <p:spPr bwMode="auto">
            <a:xfrm>
              <a:off x="6901271" y="3007758"/>
              <a:ext cx="626440" cy="617098"/>
            </a:xfrm>
            <a:prstGeom prst="ellipse">
              <a:avLst/>
            </a:prstGeom>
            <a:solidFill>
              <a:srgbClr val="BD281E"/>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4" name="Oval 4">
              <a:extLst>
                <a:ext uri="{FF2B5EF4-FFF2-40B4-BE49-F238E27FC236}">
                  <a16:creationId xmlns:a16="http://schemas.microsoft.com/office/drawing/2014/main" id="{D945E4CF-E595-A270-E558-5AC93F7CE3F3}"/>
                </a:ext>
              </a:extLst>
            </p:cNvPr>
            <p:cNvSpPr>
              <a:spLocks noChangeAspect="1" noChangeArrowheads="1"/>
            </p:cNvSpPr>
            <p:nvPr/>
          </p:nvSpPr>
          <p:spPr bwMode="auto">
            <a:xfrm>
              <a:off x="8831987" y="5531747"/>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5" name="Oval 4">
              <a:extLst>
                <a:ext uri="{FF2B5EF4-FFF2-40B4-BE49-F238E27FC236}">
                  <a16:creationId xmlns:a16="http://schemas.microsoft.com/office/drawing/2014/main" id="{D3460EE6-9669-3034-F4EF-90342318ED25}"/>
                </a:ext>
              </a:extLst>
            </p:cNvPr>
            <p:cNvSpPr>
              <a:spLocks noChangeAspect="1" noChangeArrowheads="1"/>
            </p:cNvSpPr>
            <p:nvPr/>
          </p:nvSpPr>
          <p:spPr bwMode="auto">
            <a:xfrm>
              <a:off x="7250473" y="5116869"/>
              <a:ext cx="626440" cy="617098"/>
            </a:xfrm>
            <a:prstGeom prst="ellipse">
              <a:avLst/>
            </a:prstGeom>
            <a:solidFill>
              <a:schemeClr val="accent4"/>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15F8857A-3E6D-B234-F73D-AD02CD323113}"/>
                </a:ext>
              </a:extLst>
            </p:cNvPr>
            <p:cNvSpPr>
              <a:spLocks noChangeAspect="1" noChangeArrowheads="1"/>
            </p:cNvSpPr>
            <p:nvPr/>
          </p:nvSpPr>
          <p:spPr bwMode="auto">
            <a:xfrm>
              <a:off x="10005268" y="4447274"/>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B83264E5-C7AB-1A1C-8A0E-6D714E16915C}"/>
                </a:ext>
              </a:extLst>
            </p:cNvPr>
            <p:cNvSpPr txBox="1"/>
            <p:nvPr/>
          </p:nvSpPr>
          <p:spPr>
            <a:xfrm>
              <a:off x="5434012" y="4636397"/>
              <a:ext cx="1372450" cy="76944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Government Agencies &amp; Regulatory Bodies</a:t>
              </a:r>
            </a:p>
          </p:txBody>
        </p:sp>
        <p:sp>
          <p:nvSpPr>
            <p:cNvPr id="28" name="Oval 27">
              <a:extLst>
                <a:ext uri="{FF2B5EF4-FFF2-40B4-BE49-F238E27FC236}">
                  <a16:creationId xmlns:a16="http://schemas.microsoft.com/office/drawing/2014/main" id="{0552AECD-8182-BE43-351E-E8993A0DFA59}"/>
                </a:ext>
              </a:extLst>
            </p:cNvPr>
            <p:cNvSpPr>
              <a:spLocks noChangeAspect="1" noChangeArrowheads="1"/>
            </p:cNvSpPr>
            <p:nvPr/>
          </p:nvSpPr>
          <p:spPr bwMode="auto">
            <a:xfrm>
              <a:off x="10090445" y="3671667"/>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B363D10E-343D-42DC-EBB4-EBE1F16F24F7}"/>
                </a:ext>
              </a:extLst>
            </p:cNvPr>
            <p:cNvSpPr>
              <a:spLocks noChangeAspect="1" noChangeArrowheads="1"/>
            </p:cNvSpPr>
            <p:nvPr/>
          </p:nvSpPr>
          <p:spPr bwMode="auto">
            <a:xfrm>
              <a:off x="6657990" y="3776973"/>
              <a:ext cx="626440" cy="617098"/>
            </a:xfrm>
            <a:prstGeom prst="ellipse">
              <a:avLst/>
            </a:prstGeom>
            <a:solidFill>
              <a:schemeClr val="accent4"/>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E25330D9-D216-7EBE-E763-4472B164B467}"/>
                </a:ext>
              </a:extLst>
            </p:cNvPr>
            <p:cNvSpPr txBox="1"/>
            <p:nvPr/>
          </p:nvSpPr>
          <p:spPr>
            <a:xfrm>
              <a:off x="10692986" y="4469473"/>
              <a:ext cx="105423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Research Institutions &amp; Think Tanks</a:t>
              </a:r>
            </a:p>
          </p:txBody>
        </p:sp>
        <p:grpSp>
          <p:nvGrpSpPr>
            <p:cNvPr id="32" name="Google Shape;7087;p42">
              <a:extLst>
                <a:ext uri="{FF2B5EF4-FFF2-40B4-BE49-F238E27FC236}">
                  <a16:creationId xmlns:a16="http://schemas.microsoft.com/office/drawing/2014/main" id="{DDE90FF7-2B06-1337-3881-7661430E6CFE}"/>
                </a:ext>
              </a:extLst>
            </p:cNvPr>
            <p:cNvGrpSpPr/>
            <p:nvPr/>
          </p:nvGrpSpPr>
          <p:grpSpPr>
            <a:xfrm>
              <a:off x="10113328" y="4547431"/>
              <a:ext cx="380546" cy="381358"/>
              <a:chOff x="9736138" y="4784726"/>
              <a:chExt cx="755650" cy="814388"/>
            </a:xfrm>
            <a:solidFill>
              <a:schemeClr val="tx1"/>
            </a:solidFill>
          </p:grpSpPr>
          <p:sp>
            <p:nvSpPr>
              <p:cNvPr id="33" name="Google Shape;7088;p42">
                <a:extLst>
                  <a:ext uri="{FF2B5EF4-FFF2-40B4-BE49-F238E27FC236}">
                    <a16:creationId xmlns:a16="http://schemas.microsoft.com/office/drawing/2014/main" id="{EEA4E6D1-99D2-7A8C-AC4B-9306B2EA64C3}"/>
                  </a:ext>
                </a:extLst>
              </p:cNvPr>
              <p:cNvSpPr/>
              <p:nvPr/>
            </p:nvSpPr>
            <p:spPr>
              <a:xfrm>
                <a:off x="9736138" y="4787901"/>
                <a:ext cx="560388" cy="811213"/>
              </a:xfrm>
              <a:custGeom>
                <a:avLst/>
                <a:gdLst/>
                <a:ahLst/>
                <a:cxnLst/>
                <a:rect l="l" t="t" r="r" b="b"/>
                <a:pathLst>
                  <a:path w="149" h="216" extrusionOk="0">
                    <a:moveTo>
                      <a:pt x="80" y="184"/>
                    </a:moveTo>
                    <a:cubicBezTo>
                      <a:pt x="47" y="184"/>
                      <a:pt x="47" y="184"/>
                      <a:pt x="47" y="184"/>
                    </a:cubicBezTo>
                    <a:cubicBezTo>
                      <a:pt x="39" y="184"/>
                      <a:pt x="34" y="178"/>
                      <a:pt x="34" y="171"/>
                    </a:cubicBezTo>
                    <a:cubicBezTo>
                      <a:pt x="34" y="129"/>
                      <a:pt x="34" y="129"/>
                      <a:pt x="34" y="129"/>
                    </a:cubicBezTo>
                    <a:cubicBezTo>
                      <a:pt x="34" y="127"/>
                      <a:pt x="32" y="125"/>
                      <a:pt x="30" y="125"/>
                    </a:cubicBezTo>
                    <a:cubicBezTo>
                      <a:pt x="13" y="125"/>
                      <a:pt x="13" y="125"/>
                      <a:pt x="13" y="125"/>
                    </a:cubicBezTo>
                    <a:cubicBezTo>
                      <a:pt x="10" y="125"/>
                      <a:pt x="9" y="123"/>
                      <a:pt x="9" y="122"/>
                    </a:cubicBezTo>
                    <a:cubicBezTo>
                      <a:pt x="9" y="122"/>
                      <a:pt x="8" y="119"/>
                      <a:pt x="10" y="117"/>
                    </a:cubicBezTo>
                    <a:cubicBezTo>
                      <a:pt x="41" y="86"/>
                      <a:pt x="41" y="86"/>
                      <a:pt x="41" y="86"/>
                    </a:cubicBezTo>
                    <a:cubicBezTo>
                      <a:pt x="42" y="85"/>
                      <a:pt x="42" y="84"/>
                      <a:pt x="42" y="83"/>
                    </a:cubicBezTo>
                    <a:cubicBezTo>
                      <a:pt x="42" y="41"/>
                      <a:pt x="76" y="7"/>
                      <a:pt x="118" y="7"/>
                    </a:cubicBezTo>
                    <a:cubicBezTo>
                      <a:pt x="127" y="7"/>
                      <a:pt x="135" y="8"/>
                      <a:pt x="144" y="12"/>
                    </a:cubicBezTo>
                    <a:cubicBezTo>
                      <a:pt x="146" y="12"/>
                      <a:pt x="148" y="11"/>
                      <a:pt x="149" y="9"/>
                    </a:cubicBezTo>
                    <a:cubicBezTo>
                      <a:pt x="149" y="8"/>
                      <a:pt x="149" y="8"/>
                      <a:pt x="148" y="7"/>
                    </a:cubicBezTo>
                    <a:cubicBezTo>
                      <a:pt x="148" y="6"/>
                      <a:pt x="147" y="5"/>
                      <a:pt x="146" y="5"/>
                    </a:cubicBezTo>
                    <a:cubicBezTo>
                      <a:pt x="137" y="1"/>
                      <a:pt x="128" y="0"/>
                      <a:pt x="118" y="0"/>
                    </a:cubicBezTo>
                    <a:cubicBezTo>
                      <a:pt x="73" y="0"/>
                      <a:pt x="36" y="36"/>
                      <a:pt x="35" y="81"/>
                    </a:cubicBezTo>
                    <a:cubicBezTo>
                      <a:pt x="35" y="82"/>
                      <a:pt x="35" y="82"/>
                      <a:pt x="35" y="82"/>
                    </a:cubicBezTo>
                    <a:cubicBezTo>
                      <a:pt x="35" y="82"/>
                      <a:pt x="35" y="82"/>
                      <a:pt x="35" y="82"/>
                    </a:cubicBezTo>
                    <a:cubicBezTo>
                      <a:pt x="5" y="112"/>
                      <a:pt x="5" y="112"/>
                      <a:pt x="5" y="112"/>
                    </a:cubicBezTo>
                    <a:cubicBezTo>
                      <a:pt x="1" y="115"/>
                      <a:pt x="0" y="120"/>
                      <a:pt x="2" y="125"/>
                    </a:cubicBezTo>
                    <a:cubicBezTo>
                      <a:pt x="4" y="130"/>
                      <a:pt x="8" y="133"/>
                      <a:pt x="13" y="133"/>
                    </a:cubicBezTo>
                    <a:cubicBezTo>
                      <a:pt x="26" y="133"/>
                      <a:pt x="26" y="133"/>
                      <a:pt x="26" y="133"/>
                    </a:cubicBezTo>
                    <a:cubicBezTo>
                      <a:pt x="26" y="171"/>
                      <a:pt x="26" y="171"/>
                      <a:pt x="26" y="171"/>
                    </a:cubicBezTo>
                    <a:cubicBezTo>
                      <a:pt x="26" y="182"/>
                      <a:pt x="35" y="191"/>
                      <a:pt x="47" y="191"/>
                    </a:cubicBezTo>
                    <a:cubicBezTo>
                      <a:pt x="77" y="191"/>
                      <a:pt x="77" y="191"/>
                      <a:pt x="77" y="191"/>
                    </a:cubicBezTo>
                    <a:cubicBezTo>
                      <a:pt x="77" y="213"/>
                      <a:pt x="77" y="213"/>
                      <a:pt x="77" y="213"/>
                    </a:cubicBezTo>
                    <a:cubicBezTo>
                      <a:pt x="77" y="215"/>
                      <a:pt x="78" y="216"/>
                      <a:pt x="80" y="216"/>
                    </a:cubicBezTo>
                    <a:cubicBezTo>
                      <a:pt x="82" y="216"/>
                      <a:pt x="84" y="215"/>
                      <a:pt x="84" y="213"/>
                    </a:cubicBezTo>
                    <a:cubicBezTo>
                      <a:pt x="84" y="188"/>
                      <a:pt x="84" y="188"/>
                      <a:pt x="84" y="188"/>
                    </a:cubicBezTo>
                    <a:cubicBezTo>
                      <a:pt x="84" y="186"/>
                      <a:pt x="82" y="184"/>
                      <a:pt x="80" y="184"/>
                    </a:cubicBez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w="0">
                    <a:solidFill>
                      <a:sysClr val="windowText" lastClr="000000"/>
                    </a:solidFill>
                  </a:ln>
                  <a:solidFill>
                    <a:schemeClr val="tx1">
                      <a:lumMod val="85000"/>
                      <a:lumOff val="15000"/>
                    </a:schemeClr>
                  </a:solidFill>
                  <a:effectLst>
                    <a:outerShdw blurRad="38100" dist="25400" dir="5400000" algn="ctr" rotWithShape="0">
                      <a:srgbClr val="6E747A">
                        <a:alpha val="43000"/>
                      </a:srgbClr>
                    </a:outerShdw>
                  </a:effectLst>
                  <a:uLnTx/>
                  <a:uFillTx/>
                  <a:latin typeface="Arial" panose="020B0604020202020204" pitchFamily="34" charset="0"/>
                  <a:ea typeface="Arial"/>
                  <a:cs typeface="Arial" panose="020B0604020202020204" pitchFamily="34" charset="0"/>
                  <a:sym typeface="Arial"/>
                </a:endParaRPr>
              </a:p>
            </p:txBody>
          </p:sp>
          <p:sp>
            <p:nvSpPr>
              <p:cNvPr id="38" name="Google Shape;7089;p42">
                <a:extLst>
                  <a:ext uri="{FF2B5EF4-FFF2-40B4-BE49-F238E27FC236}">
                    <a16:creationId xmlns:a16="http://schemas.microsoft.com/office/drawing/2014/main" id="{1D80FE22-6D01-5927-9B03-F2B7BB9F9BEA}"/>
                  </a:ext>
                </a:extLst>
              </p:cNvPr>
              <p:cNvSpPr/>
              <p:nvPr/>
            </p:nvSpPr>
            <p:spPr>
              <a:xfrm>
                <a:off x="10371138" y="4903788"/>
                <a:ext cx="120650" cy="695325"/>
              </a:xfrm>
              <a:custGeom>
                <a:avLst/>
                <a:gdLst/>
                <a:ahLst/>
                <a:cxnLst/>
                <a:rect l="l" t="t" r="r" b="b"/>
                <a:pathLst>
                  <a:path w="32" h="185" extrusionOk="0">
                    <a:moveTo>
                      <a:pt x="15" y="2"/>
                    </a:moveTo>
                    <a:cubicBezTo>
                      <a:pt x="15" y="1"/>
                      <a:pt x="13" y="0"/>
                      <a:pt x="12" y="0"/>
                    </a:cubicBezTo>
                    <a:cubicBezTo>
                      <a:pt x="12" y="0"/>
                      <a:pt x="11" y="1"/>
                      <a:pt x="10" y="1"/>
                    </a:cubicBezTo>
                    <a:cubicBezTo>
                      <a:pt x="9" y="2"/>
                      <a:pt x="9" y="2"/>
                      <a:pt x="9" y="3"/>
                    </a:cubicBezTo>
                    <a:cubicBezTo>
                      <a:pt x="9" y="4"/>
                      <a:pt x="9" y="5"/>
                      <a:pt x="10" y="6"/>
                    </a:cubicBezTo>
                    <a:cubicBezTo>
                      <a:pt x="20" y="19"/>
                      <a:pt x="25" y="35"/>
                      <a:pt x="25" y="52"/>
                    </a:cubicBezTo>
                    <a:cubicBezTo>
                      <a:pt x="25" y="73"/>
                      <a:pt x="16" y="93"/>
                      <a:pt x="1" y="107"/>
                    </a:cubicBezTo>
                    <a:cubicBezTo>
                      <a:pt x="0" y="108"/>
                      <a:pt x="0" y="109"/>
                      <a:pt x="0" y="110"/>
                    </a:cubicBezTo>
                    <a:cubicBezTo>
                      <a:pt x="0" y="182"/>
                      <a:pt x="0" y="182"/>
                      <a:pt x="0" y="182"/>
                    </a:cubicBezTo>
                    <a:cubicBezTo>
                      <a:pt x="0" y="184"/>
                      <a:pt x="1" y="185"/>
                      <a:pt x="3" y="185"/>
                    </a:cubicBezTo>
                    <a:cubicBezTo>
                      <a:pt x="5" y="185"/>
                      <a:pt x="7" y="184"/>
                      <a:pt x="7" y="182"/>
                    </a:cubicBezTo>
                    <a:cubicBezTo>
                      <a:pt x="7" y="111"/>
                      <a:pt x="7" y="111"/>
                      <a:pt x="7" y="111"/>
                    </a:cubicBezTo>
                    <a:cubicBezTo>
                      <a:pt x="7" y="111"/>
                      <a:pt x="7" y="111"/>
                      <a:pt x="7" y="111"/>
                    </a:cubicBezTo>
                    <a:cubicBezTo>
                      <a:pt x="23" y="95"/>
                      <a:pt x="32" y="74"/>
                      <a:pt x="32" y="52"/>
                    </a:cubicBezTo>
                    <a:cubicBezTo>
                      <a:pt x="32" y="34"/>
                      <a:pt x="26" y="16"/>
                      <a:pt x="15" y="2"/>
                    </a:cubicBez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w="0">
                    <a:solidFill>
                      <a:sysClr val="windowText" lastClr="000000"/>
                    </a:solidFill>
                  </a:ln>
                  <a:solidFill>
                    <a:schemeClr val="tx1">
                      <a:lumMod val="85000"/>
                      <a:lumOff val="15000"/>
                    </a:schemeClr>
                  </a:solidFill>
                  <a:effectLst>
                    <a:outerShdw blurRad="38100" dist="25400" dir="5400000" algn="ctr" rotWithShape="0">
                      <a:srgbClr val="6E747A">
                        <a:alpha val="43000"/>
                      </a:srgbClr>
                    </a:outerShdw>
                  </a:effectLst>
                  <a:uLnTx/>
                  <a:uFillTx/>
                  <a:latin typeface="Arial" panose="020B0604020202020204" pitchFamily="34" charset="0"/>
                  <a:ea typeface="Arial"/>
                  <a:cs typeface="Arial" panose="020B0604020202020204" pitchFamily="34" charset="0"/>
                  <a:sym typeface="Arial"/>
                </a:endParaRPr>
              </a:p>
            </p:txBody>
          </p:sp>
          <p:sp>
            <p:nvSpPr>
              <p:cNvPr id="44" name="Google Shape;7090;p42">
                <a:extLst>
                  <a:ext uri="{FF2B5EF4-FFF2-40B4-BE49-F238E27FC236}">
                    <a16:creationId xmlns:a16="http://schemas.microsoft.com/office/drawing/2014/main" id="{E7E45F2D-2E2F-461A-B780-D6A060ECE97E}"/>
                  </a:ext>
                </a:extLst>
              </p:cNvPr>
              <p:cNvSpPr/>
              <p:nvPr/>
            </p:nvSpPr>
            <p:spPr>
              <a:xfrm>
                <a:off x="10148888" y="4784726"/>
                <a:ext cx="282575" cy="409575"/>
              </a:xfrm>
              <a:custGeom>
                <a:avLst/>
                <a:gdLst/>
                <a:ahLst/>
                <a:cxnLst/>
                <a:rect l="l" t="t" r="r" b="b"/>
                <a:pathLst>
                  <a:path w="75" h="109" extrusionOk="0">
                    <a:moveTo>
                      <a:pt x="10" y="49"/>
                    </a:moveTo>
                    <a:cubicBezTo>
                      <a:pt x="24" y="64"/>
                      <a:pt x="24" y="64"/>
                      <a:pt x="24" y="64"/>
                    </a:cubicBezTo>
                    <a:cubicBezTo>
                      <a:pt x="24" y="64"/>
                      <a:pt x="24" y="64"/>
                      <a:pt x="24" y="64"/>
                    </a:cubicBezTo>
                    <a:cubicBezTo>
                      <a:pt x="1" y="103"/>
                      <a:pt x="1" y="103"/>
                      <a:pt x="1" y="103"/>
                    </a:cubicBezTo>
                    <a:cubicBezTo>
                      <a:pt x="0" y="104"/>
                      <a:pt x="0" y="106"/>
                      <a:pt x="1" y="108"/>
                    </a:cubicBezTo>
                    <a:cubicBezTo>
                      <a:pt x="3" y="109"/>
                      <a:pt x="4" y="109"/>
                      <a:pt x="6" y="108"/>
                    </a:cubicBezTo>
                    <a:cubicBezTo>
                      <a:pt x="65" y="66"/>
                      <a:pt x="65" y="66"/>
                      <a:pt x="65" y="66"/>
                    </a:cubicBezTo>
                    <a:cubicBezTo>
                      <a:pt x="65" y="65"/>
                      <a:pt x="66" y="64"/>
                      <a:pt x="66" y="63"/>
                    </a:cubicBezTo>
                    <a:cubicBezTo>
                      <a:pt x="66" y="62"/>
                      <a:pt x="66" y="61"/>
                      <a:pt x="65" y="60"/>
                    </a:cubicBezTo>
                    <a:cubicBezTo>
                      <a:pt x="50" y="46"/>
                      <a:pt x="50" y="46"/>
                      <a:pt x="50" y="46"/>
                    </a:cubicBezTo>
                    <a:cubicBezTo>
                      <a:pt x="50" y="45"/>
                      <a:pt x="50" y="45"/>
                      <a:pt x="50" y="45"/>
                    </a:cubicBezTo>
                    <a:cubicBezTo>
                      <a:pt x="74" y="6"/>
                      <a:pt x="74" y="6"/>
                      <a:pt x="74" y="6"/>
                    </a:cubicBezTo>
                    <a:cubicBezTo>
                      <a:pt x="75" y="5"/>
                      <a:pt x="74" y="3"/>
                      <a:pt x="73" y="2"/>
                    </a:cubicBezTo>
                    <a:cubicBezTo>
                      <a:pt x="72" y="1"/>
                      <a:pt x="70" y="0"/>
                      <a:pt x="69" y="1"/>
                    </a:cubicBezTo>
                    <a:cubicBezTo>
                      <a:pt x="10" y="43"/>
                      <a:pt x="10" y="43"/>
                      <a:pt x="10" y="43"/>
                    </a:cubicBezTo>
                    <a:cubicBezTo>
                      <a:pt x="9" y="44"/>
                      <a:pt x="9" y="45"/>
                      <a:pt x="9" y="46"/>
                    </a:cubicBezTo>
                    <a:cubicBezTo>
                      <a:pt x="8" y="47"/>
                      <a:pt x="9" y="48"/>
                      <a:pt x="10" y="49"/>
                    </a:cubicBezTo>
                    <a:close/>
                    <a:moveTo>
                      <a:pt x="59" y="17"/>
                    </a:moveTo>
                    <a:cubicBezTo>
                      <a:pt x="43" y="44"/>
                      <a:pt x="43" y="44"/>
                      <a:pt x="43" y="44"/>
                    </a:cubicBezTo>
                    <a:cubicBezTo>
                      <a:pt x="42" y="46"/>
                      <a:pt x="42" y="48"/>
                      <a:pt x="43" y="49"/>
                    </a:cubicBezTo>
                    <a:cubicBezTo>
                      <a:pt x="57" y="63"/>
                      <a:pt x="57" y="63"/>
                      <a:pt x="57" y="63"/>
                    </a:cubicBezTo>
                    <a:cubicBezTo>
                      <a:pt x="16" y="92"/>
                      <a:pt x="16" y="92"/>
                      <a:pt x="16" y="92"/>
                    </a:cubicBezTo>
                    <a:cubicBezTo>
                      <a:pt x="32" y="65"/>
                      <a:pt x="32" y="65"/>
                      <a:pt x="32" y="65"/>
                    </a:cubicBezTo>
                    <a:cubicBezTo>
                      <a:pt x="33" y="63"/>
                      <a:pt x="33" y="62"/>
                      <a:pt x="31" y="60"/>
                    </a:cubicBezTo>
                    <a:cubicBezTo>
                      <a:pt x="18" y="47"/>
                      <a:pt x="18" y="47"/>
                      <a:pt x="18" y="47"/>
                    </a:cubicBezTo>
                    <a:lnTo>
                      <a:pt x="59" y="17"/>
                    </a:ln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w="0">
                    <a:solidFill>
                      <a:sysClr val="windowText" lastClr="000000"/>
                    </a:solidFill>
                  </a:ln>
                  <a:solidFill>
                    <a:schemeClr val="tx1">
                      <a:lumMod val="85000"/>
                      <a:lumOff val="15000"/>
                    </a:schemeClr>
                  </a:solidFill>
                  <a:effectLst>
                    <a:outerShdw blurRad="38100" dist="25400" dir="5400000" algn="ctr" rotWithShape="0">
                      <a:srgbClr val="6E747A">
                        <a:alpha val="43000"/>
                      </a:srgbClr>
                    </a:outerShdw>
                  </a:effectLst>
                  <a:uLnTx/>
                  <a:uFillTx/>
                  <a:latin typeface="Arial" panose="020B0604020202020204" pitchFamily="34" charset="0"/>
                  <a:ea typeface="Arial"/>
                  <a:cs typeface="Arial" panose="020B0604020202020204" pitchFamily="34" charset="0"/>
                  <a:sym typeface="Arial"/>
                </a:endParaRPr>
              </a:p>
            </p:txBody>
          </p:sp>
          <p:sp>
            <p:nvSpPr>
              <p:cNvPr id="52" name="Google Shape;7091;p42">
                <a:extLst>
                  <a:ext uri="{FF2B5EF4-FFF2-40B4-BE49-F238E27FC236}">
                    <a16:creationId xmlns:a16="http://schemas.microsoft.com/office/drawing/2014/main" id="{543D7F1D-A3D9-9036-55F4-53AE19CAF74A}"/>
                  </a:ext>
                </a:extLst>
              </p:cNvPr>
              <p:cNvSpPr/>
              <p:nvPr/>
            </p:nvSpPr>
            <p:spPr>
              <a:xfrm>
                <a:off x="10071101" y="4994276"/>
                <a:ext cx="107950" cy="173038"/>
              </a:xfrm>
              <a:custGeom>
                <a:avLst/>
                <a:gdLst/>
                <a:ahLst/>
                <a:cxnLst/>
                <a:rect l="l" t="t" r="r" b="b"/>
                <a:pathLst>
                  <a:path w="29" h="46" extrusionOk="0">
                    <a:moveTo>
                      <a:pt x="28" y="3"/>
                    </a:moveTo>
                    <a:cubicBezTo>
                      <a:pt x="28" y="2"/>
                      <a:pt x="28" y="1"/>
                      <a:pt x="27" y="0"/>
                    </a:cubicBezTo>
                    <a:cubicBezTo>
                      <a:pt x="26" y="0"/>
                      <a:pt x="26" y="0"/>
                      <a:pt x="25" y="0"/>
                    </a:cubicBezTo>
                    <a:cubicBezTo>
                      <a:pt x="25" y="0"/>
                      <a:pt x="24" y="0"/>
                      <a:pt x="24" y="0"/>
                    </a:cubicBezTo>
                    <a:cubicBezTo>
                      <a:pt x="10" y="2"/>
                      <a:pt x="0" y="14"/>
                      <a:pt x="0" y="28"/>
                    </a:cubicBezTo>
                    <a:cubicBezTo>
                      <a:pt x="0" y="34"/>
                      <a:pt x="2" y="39"/>
                      <a:pt x="5" y="44"/>
                    </a:cubicBezTo>
                    <a:cubicBezTo>
                      <a:pt x="6" y="45"/>
                      <a:pt x="8" y="46"/>
                      <a:pt x="10" y="45"/>
                    </a:cubicBezTo>
                    <a:cubicBezTo>
                      <a:pt x="12" y="44"/>
                      <a:pt x="12" y="41"/>
                      <a:pt x="11" y="40"/>
                    </a:cubicBezTo>
                    <a:cubicBezTo>
                      <a:pt x="9" y="36"/>
                      <a:pt x="7" y="32"/>
                      <a:pt x="7" y="28"/>
                    </a:cubicBezTo>
                    <a:cubicBezTo>
                      <a:pt x="7" y="17"/>
                      <a:pt x="15" y="8"/>
                      <a:pt x="25" y="7"/>
                    </a:cubicBezTo>
                    <a:cubicBezTo>
                      <a:pt x="27" y="6"/>
                      <a:pt x="29" y="5"/>
                      <a:pt x="28" y="3"/>
                    </a:cubicBez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w="0">
                    <a:solidFill>
                      <a:sysClr val="windowText" lastClr="000000"/>
                    </a:solidFill>
                  </a:ln>
                  <a:solidFill>
                    <a:schemeClr val="tx1">
                      <a:lumMod val="85000"/>
                      <a:lumOff val="15000"/>
                    </a:schemeClr>
                  </a:solidFill>
                  <a:effectLst>
                    <a:outerShdw blurRad="38100" dist="25400" dir="5400000" algn="ctr" rotWithShape="0">
                      <a:srgbClr val="6E747A">
                        <a:alpha val="43000"/>
                      </a:srgbClr>
                    </a:outerShdw>
                  </a:effectLst>
                  <a:uLnTx/>
                  <a:uFillTx/>
                  <a:latin typeface="Arial" panose="020B0604020202020204" pitchFamily="34" charset="0"/>
                  <a:ea typeface="Arial"/>
                  <a:cs typeface="Arial" panose="020B0604020202020204" pitchFamily="34" charset="0"/>
                  <a:sym typeface="Arial"/>
                </a:endParaRPr>
              </a:p>
            </p:txBody>
          </p:sp>
          <p:sp>
            <p:nvSpPr>
              <p:cNvPr id="54" name="Google Shape;7092;p42">
                <a:extLst>
                  <a:ext uri="{FF2B5EF4-FFF2-40B4-BE49-F238E27FC236}">
                    <a16:creationId xmlns:a16="http://schemas.microsoft.com/office/drawing/2014/main" id="{BD9E3C93-80E7-3599-5A8A-500A5185F4A9}"/>
                  </a:ext>
                </a:extLst>
              </p:cNvPr>
              <p:cNvSpPr/>
              <p:nvPr/>
            </p:nvSpPr>
            <p:spPr>
              <a:xfrm>
                <a:off x="9931401" y="4848226"/>
                <a:ext cx="495300" cy="500063"/>
              </a:xfrm>
              <a:custGeom>
                <a:avLst/>
                <a:gdLst/>
                <a:ahLst/>
                <a:cxnLst/>
                <a:rect l="l" t="t" r="r" b="b"/>
                <a:pathLst>
                  <a:path w="132" h="133" extrusionOk="0">
                    <a:moveTo>
                      <a:pt x="121" y="104"/>
                    </a:moveTo>
                    <a:cubicBezTo>
                      <a:pt x="126" y="96"/>
                      <a:pt x="126" y="96"/>
                      <a:pt x="126" y="96"/>
                    </a:cubicBezTo>
                    <a:cubicBezTo>
                      <a:pt x="127" y="94"/>
                      <a:pt x="127" y="93"/>
                      <a:pt x="125" y="91"/>
                    </a:cubicBezTo>
                    <a:cubicBezTo>
                      <a:pt x="119" y="85"/>
                      <a:pt x="119" y="85"/>
                      <a:pt x="119" y="85"/>
                    </a:cubicBezTo>
                    <a:cubicBezTo>
                      <a:pt x="119" y="85"/>
                      <a:pt x="119" y="85"/>
                      <a:pt x="119" y="85"/>
                    </a:cubicBezTo>
                    <a:cubicBezTo>
                      <a:pt x="120" y="83"/>
                      <a:pt x="120" y="80"/>
                      <a:pt x="121" y="78"/>
                    </a:cubicBezTo>
                    <a:cubicBezTo>
                      <a:pt x="121" y="78"/>
                      <a:pt x="121" y="78"/>
                      <a:pt x="121" y="78"/>
                    </a:cubicBezTo>
                    <a:cubicBezTo>
                      <a:pt x="130" y="75"/>
                      <a:pt x="130" y="75"/>
                      <a:pt x="130" y="75"/>
                    </a:cubicBezTo>
                    <a:cubicBezTo>
                      <a:pt x="131" y="75"/>
                      <a:pt x="132" y="74"/>
                      <a:pt x="132" y="72"/>
                    </a:cubicBezTo>
                    <a:cubicBezTo>
                      <a:pt x="132" y="62"/>
                      <a:pt x="132" y="62"/>
                      <a:pt x="132" y="62"/>
                    </a:cubicBezTo>
                    <a:cubicBezTo>
                      <a:pt x="132" y="60"/>
                      <a:pt x="131" y="58"/>
                      <a:pt x="129" y="58"/>
                    </a:cubicBezTo>
                    <a:cubicBezTo>
                      <a:pt x="127" y="58"/>
                      <a:pt x="125" y="60"/>
                      <a:pt x="125" y="62"/>
                    </a:cubicBezTo>
                    <a:cubicBezTo>
                      <a:pt x="125" y="69"/>
                      <a:pt x="125" y="69"/>
                      <a:pt x="125" y="69"/>
                    </a:cubicBezTo>
                    <a:cubicBezTo>
                      <a:pt x="117" y="71"/>
                      <a:pt x="117" y="71"/>
                      <a:pt x="117" y="71"/>
                    </a:cubicBezTo>
                    <a:cubicBezTo>
                      <a:pt x="115" y="72"/>
                      <a:pt x="114" y="73"/>
                      <a:pt x="114" y="74"/>
                    </a:cubicBezTo>
                    <a:cubicBezTo>
                      <a:pt x="114" y="78"/>
                      <a:pt x="113" y="81"/>
                      <a:pt x="111" y="85"/>
                    </a:cubicBezTo>
                    <a:cubicBezTo>
                      <a:pt x="111" y="86"/>
                      <a:pt x="111" y="88"/>
                      <a:pt x="112" y="89"/>
                    </a:cubicBezTo>
                    <a:cubicBezTo>
                      <a:pt x="118" y="95"/>
                      <a:pt x="118" y="95"/>
                      <a:pt x="118" y="95"/>
                    </a:cubicBezTo>
                    <a:cubicBezTo>
                      <a:pt x="116" y="98"/>
                      <a:pt x="116" y="98"/>
                      <a:pt x="116" y="98"/>
                    </a:cubicBezTo>
                    <a:cubicBezTo>
                      <a:pt x="108" y="96"/>
                      <a:pt x="108" y="96"/>
                      <a:pt x="108" y="96"/>
                    </a:cubicBezTo>
                    <a:cubicBezTo>
                      <a:pt x="106" y="96"/>
                      <a:pt x="105" y="96"/>
                      <a:pt x="104" y="97"/>
                    </a:cubicBezTo>
                    <a:cubicBezTo>
                      <a:pt x="102" y="100"/>
                      <a:pt x="99" y="103"/>
                      <a:pt x="96" y="105"/>
                    </a:cubicBezTo>
                    <a:cubicBezTo>
                      <a:pt x="95" y="106"/>
                      <a:pt x="95" y="107"/>
                      <a:pt x="95" y="109"/>
                    </a:cubicBezTo>
                    <a:cubicBezTo>
                      <a:pt x="98" y="117"/>
                      <a:pt x="98" y="117"/>
                      <a:pt x="98" y="117"/>
                    </a:cubicBezTo>
                    <a:cubicBezTo>
                      <a:pt x="94" y="119"/>
                      <a:pt x="94" y="119"/>
                      <a:pt x="94" y="119"/>
                    </a:cubicBezTo>
                    <a:cubicBezTo>
                      <a:pt x="88" y="113"/>
                      <a:pt x="88" y="113"/>
                      <a:pt x="88" y="113"/>
                    </a:cubicBezTo>
                    <a:cubicBezTo>
                      <a:pt x="87" y="112"/>
                      <a:pt x="85" y="112"/>
                      <a:pt x="84" y="112"/>
                    </a:cubicBezTo>
                    <a:cubicBezTo>
                      <a:pt x="80" y="114"/>
                      <a:pt x="77" y="115"/>
                      <a:pt x="73" y="115"/>
                    </a:cubicBezTo>
                    <a:cubicBezTo>
                      <a:pt x="72" y="115"/>
                      <a:pt x="71" y="116"/>
                      <a:pt x="70" y="118"/>
                    </a:cubicBezTo>
                    <a:cubicBezTo>
                      <a:pt x="68" y="126"/>
                      <a:pt x="68" y="126"/>
                      <a:pt x="68" y="126"/>
                    </a:cubicBezTo>
                    <a:cubicBezTo>
                      <a:pt x="64" y="126"/>
                      <a:pt x="64" y="126"/>
                      <a:pt x="64" y="126"/>
                    </a:cubicBezTo>
                    <a:cubicBezTo>
                      <a:pt x="62" y="118"/>
                      <a:pt x="62" y="118"/>
                      <a:pt x="62" y="118"/>
                    </a:cubicBezTo>
                    <a:cubicBezTo>
                      <a:pt x="61" y="116"/>
                      <a:pt x="60" y="115"/>
                      <a:pt x="59" y="115"/>
                    </a:cubicBezTo>
                    <a:cubicBezTo>
                      <a:pt x="55" y="115"/>
                      <a:pt x="51" y="114"/>
                      <a:pt x="48" y="112"/>
                    </a:cubicBezTo>
                    <a:cubicBezTo>
                      <a:pt x="47" y="112"/>
                      <a:pt x="45" y="112"/>
                      <a:pt x="44" y="113"/>
                    </a:cubicBezTo>
                    <a:cubicBezTo>
                      <a:pt x="38" y="119"/>
                      <a:pt x="38" y="119"/>
                      <a:pt x="38" y="119"/>
                    </a:cubicBezTo>
                    <a:cubicBezTo>
                      <a:pt x="34" y="117"/>
                      <a:pt x="34" y="117"/>
                      <a:pt x="34" y="117"/>
                    </a:cubicBezTo>
                    <a:cubicBezTo>
                      <a:pt x="37" y="109"/>
                      <a:pt x="37" y="109"/>
                      <a:pt x="37" y="109"/>
                    </a:cubicBezTo>
                    <a:cubicBezTo>
                      <a:pt x="37" y="107"/>
                      <a:pt x="37" y="106"/>
                      <a:pt x="36" y="105"/>
                    </a:cubicBezTo>
                    <a:cubicBezTo>
                      <a:pt x="33" y="103"/>
                      <a:pt x="30" y="100"/>
                      <a:pt x="28" y="97"/>
                    </a:cubicBezTo>
                    <a:cubicBezTo>
                      <a:pt x="27" y="96"/>
                      <a:pt x="25" y="96"/>
                      <a:pt x="24" y="96"/>
                    </a:cubicBezTo>
                    <a:cubicBezTo>
                      <a:pt x="16" y="98"/>
                      <a:pt x="16" y="98"/>
                      <a:pt x="16" y="98"/>
                    </a:cubicBezTo>
                    <a:cubicBezTo>
                      <a:pt x="14" y="95"/>
                      <a:pt x="14" y="95"/>
                      <a:pt x="14" y="95"/>
                    </a:cubicBezTo>
                    <a:cubicBezTo>
                      <a:pt x="20" y="89"/>
                      <a:pt x="20" y="89"/>
                      <a:pt x="20" y="89"/>
                    </a:cubicBezTo>
                    <a:cubicBezTo>
                      <a:pt x="21" y="88"/>
                      <a:pt x="21" y="86"/>
                      <a:pt x="21" y="85"/>
                    </a:cubicBezTo>
                    <a:cubicBezTo>
                      <a:pt x="19" y="81"/>
                      <a:pt x="18" y="78"/>
                      <a:pt x="18" y="74"/>
                    </a:cubicBezTo>
                    <a:cubicBezTo>
                      <a:pt x="18" y="73"/>
                      <a:pt x="17" y="72"/>
                      <a:pt x="15" y="71"/>
                    </a:cubicBezTo>
                    <a:cubicBezTo>
                      <a:pt x="7" y="69"/>
                      <a:pt x="7" y="69"/>
                      <a:pt x="7" y="69"/>
                    </a:cubicBezTo>
                    <a:cubicBezTo>
                      <a:pt x="7" y="65"/>
                      <a:pt x="7" y="65"/>
                      <a:pt x="7" y="65"/>
                    </a:cubicBezTo>
                    <a:cubicBezTo>
                      <a:pt x="15" y="63"/>
                      <a:pt x="15" y="63"/>
                      <a:pt x="15" y="63"/>
                    </a:cubicBezTo>
                    <a:cubicBezTo>
                      <a:pt x="17" y="62"/>
                      <a:pt x="18" y="61"/>
                      <a:pt x="18" y="60"/>
                    </a:cubicBezTo>
                    <a:cubicBezTo>
                      <a:pt x="18" y="56"/>
                      <a:pt x="19" y="52"/>
                      <a:pt x="21" y="49"/>
                    </a:cubicBezTo>
                    <a:cubicBezTo>
                      <a:pt x="21" y="48"/>
                      <a:pt x="21" y="46"/>
                      <a:pt x="20" y="45"/>
                    </a:cubicBezTo>
                    <a:cubicBezTo>
                      <a:pt x="14" y="39"/>
                      <a:pt x="14" y="39"/>
                      <a:pt x="14" y="39"/>
                    </a:cubicBezTo>
                    <a:cubicBezTo>
                      <a:pt x="16" y="35"/>
                      <a:pt x="16" y="35"/>
                      <a:pt x="16" y="35"/>
                    </a:cubicBezTo>
                    <a:cubicBezTo>
                      <a:pt x="24" y="38"/>
                      <a:pt x="24" y="38"/>
                      <a:pt x="24" y="38"/>
                    </a:cubicBezTo>
                    <a:cubicBezTo>
                      <a:pt x="25" y="38"/>
                      <a:pt x="27" y="38"/>
                      <a:pt x="28" y="37"/>
                    </a:cubicBezTo>
                    <a:cubicBezTo>
                      <a:pt x="30" y="34"/>
                      <a:pt x="33" y="31"/>
                      <a:pt x="36" y="29"/>
                    </a:cubicBezTo>
                    <a:cubicBezTo>
                      <a:pt x="37" y="28"/>
                      <a:pt x="37" y="26"/>
                      <a:pt x="37" y="25"/>
                    </a:cubicBezTo>
                    <a:cubicBezTo>
                      <a:pt x="34" y="17"/>
                      <a:pt x="34" y="17"/>
                      <a:pt x="34" y="17"/>
                    </a:cubicBezTo>
                    <a:cubicBezTo>
                      <a:pt x="38" y="14"/>
                      <a:pt x="38" y="14"/>
                      <a:pt x="38" y="14"/>
                    </a:cubicBezTo>
                    <a:cubicBezTo>
                      <a:pt x="44" y="21"/>
                      <a:pt x="44" y="21"/>
                      <a:pt x="44" y="21"/>
                    </a:cubicBezTo>
                    <a:cubicBezTo>
                      <a:pt x="45" y="22"/>
                      <a:pt x="47" y="22"/>
                      <a:pt x="48" y="22"/>
                    </a:cubicBezTo>
                    <a:cubicBezTo>
                      <a:pt x="51" y="20"/>
                      <a:pt x="55" y="19"/>
                      <a:pt x="59" y="19"/>
                    </a:cubicBezTo>
                    <a:cubicBezTo>
                      <a:pt x="60" y="19"/>
                      <a:pt x="61" y="17"/>
                      <a:pt x="62" y="16"/>
                    </a:cubicBezTo>
                    <a:cubicBezTo>
                      <a:pt x="64" y="8"/>
                      <a:pt x="64" y="8"/>
                      <a:pt x="64" y="8"/>
                    </a:cubicBezTo>
                    <a:cubicBezTo>
                      <a:pt x="71" y="8"/>
                      <a:pt x="71" y="8"/>
                      <a:pt x="71" y="8"/>
                    </a:cubicBezTo>
                    <a:cubicBezTo>
                      <a:pt x="73" y="8"/>
                      <a:pt x="75" y="6"/>
                      <a:pt x="75" y="4"/>
                    </a:cubicBezTo>
                    <a:cubicBezTo>
                      <a:pt x="75" y="2"/>
                      <a:pt x="73" y="0"/>
                      <a:pt x="71" y="0"/>
                    </a:cubicBezTo>
                    <a:cubicBezTo>
                      <a:pt x="61" y="0"/>
                      <a:pt x="61" y="0"/>
                      <a:pt x="61" y="0"/>
                    </a:cubicBezTo>
                    <a:cubicBezTo>
                      <a:pt x="59" y="0"/>
                      <a:pt x="58" y="2"/>
                      <a:pt x="57" y="3"/>
                    </a:cubicBezTo>
                    <a:cubicBezTo>
                      <a:pt x="55" y="12"/>
                      <a:pt x="55" y="12"/>
                      <a:pt x="55" y="12"/>
                    </a:cubicBezTo>
                    <a:cubicBezTo>
                      <a:pt x="55" y="12"/>
                      <a:pt x="55" y="12"/>
                      <a:pt x="55" y="12"/>
                    </a:cubicBezTo>
                    <a:cubicBezTo>
                      <a:pt x="53" y="13"/>
                      <a:pt x="50" y="13"/>
                      <a:pt x="48" y="14"/>
                    </a:cubicBezTo>
                    <a:cubicBezTo>
                      <a:pt x="48" y="14"/>
                      <a:pt x="48" y="14"/>
                      <a:pt x="48" y="14"/>
                    </a:cubicBezTo>
                    <a:cubicBezTo>
                      <a:pt x="41" y="7"/>
                      <a:pt x="41" y="7"/>
                      <a:pt x="41" y="7"/>
                    </a:cubicBezTo>
                    <a:cubicBezTo>
                      <a:pt x="40" y="6"/>
                      <a:pt x="39" y="6"/>
                      <a:pt x="37" y="7"/>
                    </a:cubicBezTo>
                    <a:cubicBezTo>
                      <a:pt x="28" y="12"/>
                      <a:pt x="28" y="12"/>
                      <a:pt x="28" y="12"/>
                    </a:cubicBezTo>
                    <a:cubicBezTo>
                      <a:pt x="27" y="13"/>
                      <a:pt x="26" y="14"/>
                      <a:pt x="27" y="16"/>
                    </a:cubicBezTo>
                    <a:cubicBezTo>
                      <a:pt x="29" y="25"/>
                      <a:pt x="29" y="25"/>
                      <a:pt x="29" y="25"/>
                    </a:cubicBezTo>
                    <a:cubicBezTo>
                      <a:pt x="29" y="25"/>
                      <a:pt x="29" y="25"/>
                      <a:pt x="29" y="25"/>
                    </a:cubicBezTo>
                    <a:cubicBezTo>
                      <a:pt x="27" y="27"/>
                      <a:pt x="26" y="28"/>
                      <a:pt x="24" y="30"/>
                    </a:cubicBezTo>
                    <a:cubicBezTo>
                      <a:pt x="24" y="30"/>
                      <a:pt x="24" y="30"/>
                      <a:pt x="24" y="30"/>
                    </a:cubicBezTo>
                    <a:cubicBezTo>
                      <a:pt x="15" y="28"/>
                      <a:pt x="15" y="28"/>
                      <a:pt x="15" y="28"/>
                    </a:cubicBezTo>
                    <a:cubicBezTo>
                      <a:pt x="13" y="27"/>
                      <a:pt x="12" y="28"/>
                      <a:pt x="11" y="29"/>
                    </a:cubicBezTo>
                    <a:cubicBezTo>
                      <a:pt x="6" y="38"/>
                      <a:pt x="6" y="38"/>
                      <a:pt x="6" y="38"/>
                    </a:cubicBezTo>
                    <a:cubicBezTo>
                      <a:pt x="5" y="39"/>
                      <a:pt x="5" y="41"/>
                      <a:pt x="7" y="42"/>
                    </a:cubicBezTo>
                    <a:cubicBezTo>
                      <a:pt x="13" y="49"/>
                      <a:pt x="13" y="49"/>
                      <a:pt x="13" y="49"/>
                    </a:cubicBezTo>
                    <a:cubicBezTo>
                      <a:pt x="13" y="49"/>
                      <a:pt x="13" y="49"/>
                      <a:pt x="13" y="49"/>
                    </a:cubicBezTo>
                    <a:cubicBezTo>
                      <a:pt x="12" y="51"/>
                      <a:pt x="12" y="54"/>
                      <a:pt x="11" y="56"/>
                    </a:cubicBezTo>
                    <a:cubicBezTo>
                      <a:pt x="11" y="56"/>
                      <a:pt x="11" y="56"/>
                      <a:pt x="11" y="56"/>
                    </a:cubicBezTo>
                    <a:cubicBezTo>
                      <a:pt x="2" y="58"/>
                      <a:pt x="2" y="58"/>
                      <a:pt x="2" y="58"/>
                    </a:cubicBezTo>
                    <a:cubicBezTo>
                      <a:pt x="1" y="59"/>
                      <a:pt x="0" y="60"/>
                      <a:pt x="0" y="62"/>
                    </a:cubicBezTo>
                    <a:cubicBezTo>
                      <a:pt x="0" y="72"/>
                      <a:pt x="0" y="72"/>
                      <a:pt x="0" y="72"/>
                    </a:cubicBezTo>
                    <a:cubicBezTo>
                      <a:pt x="0" y="74"/>
                      <a:pt x="1" y="75"/>
                      <a:pt x="2" y="75"/>
                    </a:cubicBezTo>
                    <a:cubicBezTo>
                      <a:pt x="11" y="78"/>
                      <a:pt x="11" y="78"/>
                      <a:pt x="11" y="78"/>
                    </a:cubicBezTo>
                    <a:cubicBezTo>
                      <a:pt x="11" y="78"/>
                      <a:pt x="11" y="78"/>
                      <a:pt x="11" y="78"/>
                    </a:cubicBezTo>
                    <a:cubicBezTo>
                      <a:pt x="12" y="80"/>
                      <a:pt x="12" y="83"/>
                      <a:pt x="13" y="85"/>
                    </a:cubicBezTo>
                    <a:cubicBezTo>
                      <a:pt x="13" y="85"/>
                      <a:pt x="13" y="85"/>
                      <a:pt x="13" y="85"/>
                    </a:cubicBezTo>
                    <a:cubicBezTo>
                      <a:pt x="7" y="91"/>
                      <a:pt x="7" y="91"/>
                      <a:pt x="7" y="91"/>
                    </a:cubicBezTo>
                    <a:cubicBezTo>
                      <a:pt x="5" y="93"/>
                      <a:pt x="5" y="94"/>
                      <a:pt x="6" y="96"/>
                    </a:cubicBezTo>
                    <a:cubicBezTo>
                      <a:pt x="11" y="104"/>
                      <a:pt x="11" y="104"/>
                      <a:pt x="11" y="104"/>
                    </a:cubicBezTo>
                    <a:cubicBezTo>
                      <a:pt x="12" y="106"/>
                      <a:pt x="13" y="107"/>
                      <a:pt x="15" y="106"/>
                    </a:cubicBezTo>
                    <a:cubicBezTo>
                      <a:pt x="24" y="104"/>
                      <a:pt x="24" y="104"/>
                      <a:pt x="24" y="104"/>
                    </a:cubicBezTo>
                    <a:cubicBezTo>
                      <a:pt x="24" y="104"/>
                      <a:pt x="24" y="104"/>
                      <a:pt x="24" y="104"/>
                    </a:cubicBezTo>
                    <a:cubicBezTo>
                      <a:pt x="26" y="106"/>
                      <a:pt x="27" y="107"/>
                      <a:pt x="29" y="109"/>
                    </a:cubicBezTo>
                    <a:cubicBezTo>
                      <a:pt x="29" y="109"/>
                      <a:pt x="29" y="109"/>
                      <a:pt x="29" y="109"/>
                    </a:cubicBezTo>
                    <a:cubicBezTo>
                      <a:pt x="27" y="118"/>
                      <a:pt x="27" y="118"/>
                      <a:pt x="27" y="118"/>
                    </a:cubicBezTo>
                    <a:cubicBezTo>
                      <a:pt x="26" y="119"/>
                      <a:pt x="27" y="121"/>
                      <a:pt x="28" y="122"/>
                    </a:cubicBezTo>
                    <a:cubicBezTo>
                      <a:pt x="37" y="127"/>
                      <a:pt x="37" y="127"/>
                      <a:pt x="37" y="127"/>
                    </a:cubicBezTo>
                    <a:cubicBezTo>
                      <a:pt x="39" y="128"/>
                      <a:pt x="40" y="128"/>
                      <a:pt x="41" y="126"/>
                    </a:cubicBezTo>
                    <a:cubicBezTo>
                      <a:pt x="48" y="120"/>
                      <a:pt x="48" y="120"/>
                      <a:pt x="48" y="120"/>
                    </a:cubicBezTo>
                    <a:cubicBezTo>
                      <a:pt x="48" y="120"/>
                      <a:pt x="48" y="120"/>
                      <a:pt x="48" y="120"/>
                    </a:cubicBezTo>
                    <a:cubicBezTo>
                      <a:pt x="50" y="121"/>
                      <a:pt x="53" y="121"/>
                      <a:pt x="55" y="122"/>
                    </a:cubicBezTo>
                    <a:cubicBezTo>
                      <a:pt x="55" y="122"/>
                      <a:pt x="55" y="122"/>
                      <a:pt x="55" y="122"/>
                    </a:cubicBezTo>
                    <a:cubicBezTo>
                      <a:pt x="57" y="131"/>
                      <a:pt x="57" y="131"/>
                      <a:pt x="57" y="131"/>
                    </a:cubicBezTo>
                    <a:cubicBezTo>
                      <a:pt x="58" y="132"/>
                      <a:pt x="59" y="133"/>
                      <a:pt x="61" y="133"/>
                    </a:cubicBezTo>
                    <a:cubicBezTo>
                      <a:pt x="71" y="133"/>
                      <a:pt x="71" y="133"/>
                      <a:pt x="71" y="133"/>
                    </a:cubicBezTo>
                    <a:cubicBezTo>
                      <a:pt x="73" y="133"/>
                      <a:pt x="74" y="132"/>
                      <a:pt x="74" y="131"/>
                    </a:cubicBezTo>
                    <a:cubicBezTo>
                      <a:pt x="77" y="122"/>
                      <a:pt x="77" y="122"/>
                      <a:pt x="77" y="122"/>
                    </a:cubicBezTo>
                    <a:cubicBezTo>
                      <a:pt x="77" y="122"/>
                      <a:pt x="77" y="122"/>
                      <a:pt x="77" y="122"/>
                    </a:cubicBezTo>
                    <a:cubicBezTo>
                      <a:pt x="79" y="121"/>
                      <a:pt x="82" y="121"/>
                      <a:pt x="84" y="120"/>
                    </a:cubicBezTo>
                    <a:cubicBezTo>
                      <a:pt x="84" y="120"/>
                      <a:pt x="84" y="120"/>
                      <a:pt x="84" y="120"/>
                    </a:cubicBezTo>
                    <a:cubicBezTo>
                      <a:pt x="90" y="126"/>
                      <a:pt x="90" y="126"/>
                      <a:pt x="90" y="126"/>
                    </a:cubicBezTo>
                    <a:cubicBezTo>
                      <a:pt x="92" y="128"/>
                      <a:pt x="93" y="128"/>
                      <a:pt x="95" y="127"/>
                    </a:cubicBezTo>
                    <a:cubicBezTo>
                      <a:pt x="104" y="122"/>
                      <a:pt x="104" y="122"/>
                      <a:pt x="104" y="122"/>
                    </a:cubicBezTo>
                    <a:cubicBezTo>
                      <a:pt x="105" y="121"/>
                      <a:pt x="106" y="119"/>
                      <a:pt x="105" y="118"/>
                    </a:cubicBezTo>
                    <a:cubicBezTo>
                      <a:pt x="103" y="109"/>
                      <a:pt x="103" y="109"/>
                      <a:pt x="103" y="109"/>
                    </a:cubicBezTo>
                    <a:cubicBezTo>
                      <a:pt x="103" y="109"/>
                      <a:pt x="103" y="109"/>
                      <a:pt x="103" y="109"/>
                    </a:cubicBezTo>
                    <a:cubicBezTo>
                      <a:pt x="105" y="107"/>
                      <a:pt x="106" y="106"/>
                      <a:pt x="108" y="104"/>
                    </a:cubicBezTo>
                    <a:cubicBezTo>
                      <a:pt x="108" y="104"/>
                      <a:pt x="108" y="104"/>
                      <a:pt x="108" y="104"/>
                    </a:cubicBezTo>
                    <a:cubicBezTo>
                      <a:pt x="117" y="106"/>
                      <a:pt x="117" y="106"/>
                      <a:pt x="117" y="106"/>
                    </a:cubicBezTo>
                    <a:cubicBezTo>
                      <a:pt x="118" y="107"/>
                      <a:pt x="120" y="106"/>
                      <a:pt x="121" y="104"/>
                    </a:cubicBez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w="0">
                    <a:solidFill>
                      <a:sysClr val="windowText" lastClr="000000"/>
                    </a:solidFill>
                  </a:ln>
                  <a:solidFill>
                    <a:schemeClr val="tx1">
                      <a:lumMod val="85000"/>
                      <a:lumOff val="15000"/>
                    </a:schemeClr>
                  </a:solidFill>
                  <a:effectLst>
                    <a:outerShdw blurRad="38100" dist="25400" dir="5400000" algn="ctr" rotWithShape="0">
                      <a:srgbClr val="6E747A">
                        <a:alpha val="43000"/>
                      </a:srgbClr>
                    </a:outerShdw>
                  </a:effectLst>
                  <a:uLnTx/>
                  <a:uFillTx/>
                  <a:latin typeface="Arial" panose="020B0604020202020204" pitchFamily="34" charset="0"/>
                  <a:ea typeface="Arial"/>
                  <a:cs typeface="Arial" panose="020B0604020202020204" pitchFamily="34" charset="0"/>
                  <a:sym typeface="Arial"/>
                </a:endParaRPr>
              </a:p>
            </p:txBody>
          </p:sp>
        </p:grpSp>
        <p:pic>
          <p:nvPicPr>
            <p:cNvPr id="57" name="Picture 22">
              <a:extLst>
                <a:ext uri="{FF2B5EF4-FFF2-40B4-BE49-F238E27FC236}">
                  <a16:creationId xmlns:a16="http://schemas.microsoft.com/office/drawing/2014/main" id="{1F1096B6-F0FD-3650-F9E4-5B3CB830BC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94949" y="4625893"/>
              <a:ext cx="566794" cy="20901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0" descr="Energy Saving Trust - Oxfordshire Mind Guide">
              <a:extLst>
                <a:ext uri="{FF2B5EF4-FFF2-40B4-BE49-F238E27FC236}">
                  <a16:creationId xmlns:a16="http://schemas.microsoft.com/office/drawing/2014/main" id="{E23DB795-C5D3-6CC9-1391-66D8B2FD20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4192" y="3329621"/>
              <a:ext cx="480858" cy="35815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0" descr="Protect our world - Environment Agency">
              <a:extLst>
                <a:ext uri="{FF2B5EF4-FFF2-40B4-BE49-F238E27FC236}">
                  <a16:creationId xmlns:a16="http://schemas.microsoft.com/office/drawing/2014/main" id="{57DB8350-B993-D28E-8055-A3D309AD265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37601" y="3585445"/>
              <a:ext cx="794146" cy="31250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Energy Systems Catapult (@EnergySysCat) / X">
              <a:extLst>
                <a:ext uri="{FF2B5EF4-FFF2-40B4-BE49-F238E27FC236}">
                  <a16:creationId xmlns:a16="http://schemas.microsoft.com/office/drawing/2014/main" id="{69663FE4-55F7-F961-5720-2F9456B7A11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1194" b="28652"/>
            <a:stretch/>
          </p:blipFill>
          <p:spPr bwMode="auto">
            <a:xfrm>
              <a:off x="8873265" y="4271090"/>
              <a:ext cx="727793" cy="28181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Centre for Sustainable Energy Events - 1 Upcoming Activities and Tickets |  Eventbrite">
              <a:extLst>
                <a:ext uri="{FF2B5EF4-FFF2-40B4-BE49-F238E27FC236}">
                  <a16:creationId xmlns:a16="http://schemas.microsoft.com/office/drawing/2014/main" id="{331A2ACA-7610-2C92-7ED5-3D8005CD7F5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78223" y="4037167"/>
              <a:ext cx="480481" cy="50657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Chatham House – International Affairs Think Tank">
              <a:extLst>
                <a:ext uri="{FF2B5EF4-FFF2-40B4-BE49-F238E27FC236}">
                  <a16:creationId xmlns:a16="http://schemas.microsoft.com/office/drawing/2014/main" id="{23DCD736-DF3F-8C23-FCC7-5784E8F4402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10064" y="4072150"/>
              <a:ext cx="427129" cy="11263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5BE5FDCA-83FB-17D5-4AAB-8BCB500C58E3}"/>
                </a:ext>
              </a:extLst>
            </p:cNvPr>
            <p:cNvSpPr txBox="1"/>
            <p:nvPr/>
          </p:nvSpPr>
          <p:spPr>
            <a:xfrm>
              <a:off x="10215755" y="5352769"/>
              <a:ext cx="169581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Energy efficiency service providers</a:t>
              </a:r>
            </a:p>
          </p:txBody>
        </p:sp>
        <p:grpSp>
          <p:nvGrpSpPr>
            <p:cNvPr id="64" name="Google Shape;5523;p30">
              <a:extLst>
                <a:ext uri="{FF2B5EF4-FFF2-40B4-BE49-F238E27FC236}">
                  <a16:creationId xmlns:a16="http://schemas.microsoft.com/office/drawing/2014/main" id="{F0474B7C-08BD-7F6E-1B59-12A5C2EDA221}"/>
                </a:ext>
              </a:extLst>
            </p:cNvPr>
            <p:cNvGrpSpPr/>
            <p:nvPr/>
          </p:nvGrpSpPr>
          <p:grpSpPr>
            <a:xfrm>
              <a:off x="9651707" y="5254278"/>
              <a:ext cx="484222" cy="355955"/>
              <a:chOff x="5372101" y="4649788"/>
              <a:chExt cx="265112" cy="204788"/>
            </a:xfrm>
            <a:solidFill>
              <a:schemeClr val="tx1"/>
            </a:solidFill>
          </p:grpSpPr>
          <p:sp>
            <p:nvSpPr>
              <p:cNvPr id="66" name="Google Shape;5524;p30">
                <a:extLst>
                  <a:ext uri="{FF2B5EF4-FFF2-40B4-BE49-F238E27FC236}">
                    <a16:creationId xmlns:a16="http://schemas.microsoft.com/office/drawing/2014/main" id="{60CC9B27-E31E-05A3-F0B0-4D19265EB52E}"/>
                  </a:ext>
                </a:extLst>
              </p:cNvPr>
              <p:cNvSpPr/>
              <p:nvPr/>
            </p:nvSpPr>
            <p:spPr>
              <a:xfrm>
                <a:off x="5403851" y="4692651"/>
                <a:ext cx="157163" cy="161925"/>
              </a:xfrm>
              <a:custGeom>
                <a:avLst/>
                <a:gdLst/>
                <a:ahLst/>
                <a:cxnLst/>
                <a:rect l="l" t="t" r="r" b="b"/>
                <a:pathLst>
                  <a:path w="157" h="161" extrusionOk="0">
                    <a:moveTo>
                      <a:pt x="147" y="151"/>
                    </a:moveTo>
                    <a:cubicBezTo>
                      <a:pt x="102" y="151"/>
                      <a:pt x="102" y="151"/>
                      <a:pt x="102" y="151"/>
                    </a:cubicBezTo>
                    <a:cubicBezTo>
                      <a:pt x="102" y="108"/>
                      <a:pt x="102" y="108"/>
                      <a:pt x="102" y="108"/>
                    </a:cubicBezTo>
                    <a:cubicBezTo>
                      <a:pt x="102" y="105"/>
                      <a:pt x="100" y="103"/>
                      <a:pt x="97" y="103"/>
                    </a:cubicBezTo>
                    <a:cubicBezTo>
                      <a:pt x="59" y="103"/>
                      <a:pt x="59" y="103"/>
                      <a:pt x="59" y="103"/>
                    </a:cubicBezTo>
                    <a:cubicBezTo>
                      <a:pt x="57" y="103"/>
                      <a:pt x="54" y="105"/>
                      <a:pt x="54" y="108"/>
                    </a:cubicBezTo>
                    <a:cubicBezTo>
                      <a:pt x="54" y="151"/>
                      <a:pt x="54" y="151"/>
                      <a:pt x="54" y="151"/>
                    </a:cubicBezTo>
                    <a:cubicBezTo>
                      <a:pt x="10" y="151"/>
                      <a:pt x="10" y="151"/>
                      <a:pt x="10" y="151"/>
                    </a:cubicBezTo>
                    <a:cubicBezTo>
                      <a:pt x="10" y="74"/>
                      <a:pt x="10" y="74"/>
                      <a:pt x="10" y="74"/>
                    </a:cubicBezTo>
                    <a:cubicBezTo>
                      <a:pt x="78" y="12"/>
                      <a:pt x="78" y="12"/>
                      <a:pt x="78" y="12"/>
                    </a:cubicBezTo>
                    <a:cubicBezTo>
                      <a:pt x="102" y="34"/>
                      <a:pt x="102" y="34"/>
                      <a:pt x="102" y="34"/>
                    </a:cubicBezTo>
                    <a:cubicBezTo>
                      <a:pt x="109" y="26"/>
                      <a:pt x="109" y="26"/>
                      <a:pt x="109" y="26"/>
                    </a:cubicBezTo>
                    <a:cubicBezTo>
                      <a:pt x="82" y="2"/>
                      <a:pt x="82" y="2"/>
                      <a:pt x="82" y="2"/>
                    </a:cubicBezTo>
                    <a:cubicBezTo>
                      <a:pt x="80" y="0"/>
                      <a:pt x="77" y="0"/>
                      <a:pt x="75" y="2"/>
                    </a:cubicBezTo>
                    <a:cubicBezTo>
                      <a:pt x="1" y="68"/>
                      <a:pt x="1" y="68"/>
                      <a:pt x="1" y="68"/>
                    </a:cubicBezTo>
                    <a:cubicBezTo>
                      <a:pt x="0" y="69"/>
                      <a:pt x="0" y="70"/>
                      <a:pt x="0" y="72"/>
                    </a:cubicBezTo>
                    <a:cubicBezTo>
                      <a:pt x="0" y="156"/>
                      <a:pt x="0" y="156"/>
                      <a:pt x="0" y="156"/>
                    </a:cubicBezTo>
                    <a:cubicBezTo>
                      <a:pt x="0" y="159"/>
                      <a:pt x="2" y="161"/>
                      <a:pt x="5" y="161"/>
                    </a:cubicBezTo>
                    <a:cubicBezTo>
                      <a:pt x="59" y="161"/>
                      <a:pt x="59" y="161"/>
                      <a:pt x="59" y="161"/>
                    </a:cubicBezTo>
                    <a:cubicBezTo>
                      <a:pt x="62" y="161"/>
                      <a:pt x="64" y="159"/>
                      <a:pt x="64" y="156"/>
                    </a:cubicBezTo>
                    <a:cubicBezTo>
                      <a:pt x="64" y="113"/>
                      <a:pt x="64" y="113"/>
                      <a:pt x="64" y="113"/>
                    </a:cubicBezTo>
                    <a:cubicBezTo>
                      <a:pt x="92" y="113"/>
                      <a:pt x="92" y="113"/>
                      <a:pt x="92" y="113"/>
                    </a:cubicBezTo>
                    <a:cubicBezTo>
                      <a:pt x="92" y="156"/>
                      <a:pt x="92" y="156"/>
                      <a:pt x="92" y="156"/>
                    </a:cubicBezTo>
                    <a:cubicBezTo>
                      <a:pt x="92" y="159"/>
                      <a:pt x="95" y="161"/>
                      <a:pt x="97" y="161"/>
                    </a:cubicBezTo>
                    <a:cubicBezTo>
                      <a:pt x="152" y="161"/>
                      <a:pt x="152" y="161"/>
                      <a:pt x="152" y="161"/>
                    </a:cubicBezTo>
                    <a:cubicBezTo>
                      <a:pt x="155" y="161"/>
                      <a:pt x="157" y="159"/>
                      <a:pt x="157" y="156"/>
                    </a:cubicBezTo>
                    <a:cubicBezTo>
                      <a:pt x="157" y="121"/>
                      <a:pt x="157" y="121"/>
                      <a:pt x="157" y="121"/>
                    </a:cubicBezTo>
                    <a:cubicBezTo>
                      <a:pt x="147" y="121"/>
                      <a:pt x="147" y="121"/>
                      <a:pt x="147" y="121"/>
                    </a:cubicBezTo>
                    <a:lnTo>
                      <a:pt x="147" y="151"/>
                    </a:ln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67" name="Google Shape;5525;p30">
                <a:extLst>
                  <a:ext uri="{FF2B5EF4-FFF2-40B4-BE49-F238E27FC236}">
                    <a16:creationId xmlns:a16="http://schemas.microsoft.com/office/drawing/2014/main" id="{EBA5421C-9701-86B3-35A2-A83603786F7E}"/>
                  </a:ext>
                </a:extLst>
              </p:cNvPr>
              <p:cNvSpPr/>
              <p:nvPr/>
            </p:nvSpPr>
            <p:spPr>
              <a:xfrm>
                <a:off x="5372101" y="4659313"/>
                <a:ext cx="146050" cy="103188"/>
              </a:xfrm>
              <a:custGeom>
                <a:avLst/>
                <a:gdLst/>
                <a:ahLst/>
                <a:cxnLst/>
                <a:rect l="l" t="t" r="r" b="b"/>
                <a:pathLst>
                  <a:path w="92" h="65" extrusionOk="0">
                    <a:moveTo>
                      <a:pt x="26" y="17"/>
                    </a:moveTo>
                    <a:lnTo>
                      <a:pt x="35" y="17"/>
                    </a:lnTo>
                    <a:lnTo>
                      <a:pt x="35" y="38"/>
                    </a:lnTo>
                    <a:lnTo>
                      <a:pt x="69" y="8"/>
                    </a:lnTo>
                    <a:lnTo>
                      <a:pt x="88" y="24"/>
                    </a:lnTo>
                    <a:lnTo>
                      <a:pt x="92" y="19"/>
                    </a:lnTo>
                    <a:lnTo>
                      <a:pt x="69" y="0"/>
                    </a:lnTo>
                    <a:lnTo>
                      <a:pt x="41" y="24"/>
                    </a:lnTo>
                    <a:lnTo>
                      <a:pt x="41" y="11"/>
                    </a:lnTo>
                    <a:lnTo>
                      <a:pt x="20" y="11"/>
                    </a:lnTo>
                    <a:lnTo>
                      <a:pt x="20" y="43"/>
                    </a:lnTo>
                    <a:lnTo>
                      <a:pt x="0" y="60"/>
                    </a:lnTo>
                    <a:lnTo>
                      <a:pt x="4" y="65"/>
                    </a:lnTo>
                    <a:lnTo>
                      <a:pt x="26" y="45"/>
                    </a:lnTo>
                    <a:lnTo>
                      <a:pt x="26" y="17"/>
                    </a:ln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68" name="Google Shape;5526;p30">
                <a:extLst>
                  <a:ext uri="{FF2B5EF4-FFF2-40B4-BE49-F238E27FC236}">
                    <a16:creationId xmlns:a16="http://schemas.microsoft.com/office/drawing/2014/main" id="{43046211-2721-DB1C-273D-2A427DEEC3EE}"/>
                  </a:ext>
                </a:extLst>
              </p:cNvPr>
              <p:cNvSpPr/>
              <p:nvPr/>
            </p:nvSpPr>
            <p:spPr>
              <a:xfrm>
                <a:off x="5516563" y="4649788"/>
                <a:ext cx="120650" cy="174625"/>
              </a:xfrm>
              <a:custGeom>
                <a:avLst/>
                <a:gdLst/>
                <a:ahLst/>
                <a:cxnLst/>
                <a:rect l="l" t="t" r="r" b="b"/>
                <a:pathLst>
                  <a:path w="119" h="173" extrusionOk="0">
                    <a:moveTo>
                      <a:pt x="32" y="1"/>
                    </a:moveTo>
                    <a:cubicBezTo>
                      <a:pt x="31" y="0"/>
                      <a:pt x="29" y="0"/>
                      <a:pt x="28" y="0"/>
                    </a:cubicBezTo>
                    <a:cubicBezTo>
                      <a:pt x="27" y="1"/>
                      <a:pt x="25" y="2"/>
                      <a:pt x="25" y="3"/>
                    </a:cubicBezTo>
                    <a:cubicBezTo>
                      <a:pt x="24" y="6"/>
                      <a:pt x="0" y="68"/>
                      <a:pt x="5" y="102"/>
                    </a:cubicBezTo>
                    <a:cubicBezTo>
                      <a:pt x="9" y="127"/>
                      <a:pt x="21" y="139"/>
                      <a:pt x="30" y="145"/>
                    </a:cubicBezTo>
                    <a:cubicBezTo>
                      <a:pt x="38" y="149"/>
                      <a:pt x="47" y="152"/>
                      <a:pt x="57" y="152"/>
                    </a:cubicBezTo>
                    <a:cubicBezTo>
                      <a:pt x="62" y="152"/>
                      <a:pt x="67" y="151"/>
                      <a:pt x="73" y="150"/>
                    </a:cubicBezTo>
                    <a:cubicBezTo>
                      <a:pt x="79" y="169"/>
                      <a:pt x="79" y="169"/>
                      <a:pt x="79" y="169"/>
                    </a:cubicBezTo>
                    <a:cubicBezTo>
                      <a:pt x="80" y="171"/>
                      <a:pt x="82" y="173"/>
                      <a:pt x="84" y="173"/>
                    </a:cubicBezTo>
                    <a:cubicBezTo>
                      <a:pt x="84" y="173"/>
                      <a:pt x="85" y="173"/>
                      <a:pt x="85" y="172"/>
                    </a:cubicBezTo>
                    <a:cubicBezTo>
                      <a:pt x="88" y="172"/>
                      <a:pt x="89" y="169"/>
                      <a:pt x="89" y="166"/>
                    </a:cubicBezTo>
                    <a:cubicBezTo>
                      <a:pt x="82" y="146"/>
                      <a:pt x="82" y="146"/>
                      <a:pt x="82" y="146"/>
                    </a:cubicBezTo>
                    <a:cubicBezTo>
                      <a:pt x="96" y="141"/>
                      <a:pt x="108" y="130"/>
                      <a:pt x="113" y="117"/>
                    </a:cubicBezTo>
                    <a:cubicBezTo>
                      <a:pt x="117" y="107"/>
                      <a:pt x="119" y="90"/>
                      <a:pt x="107" y="68"/>
                    </a:cubicBezTo>
                    <a:cubicBezTo>
                      <a:pt x="91" y="38"/>
                      <a:pt x="35" y="2"/>
                      <a:pt x="32" y="1"/>
                    </a:cubicBezTo>
                    <a:close/>
                    <a:moveTo>
                      <a:pt x="103" y="113"/>
                    </a:moveTo>
                    <a:cubicBezTo>
                      <a:pt x="99" y="124"/>
                      <a:pt x="90" y="132"/>
                      <a:pt x="79" y="137"/>
                    </a:cubicBezTo>
                    <a:cubicBezTo>
                      <a:pt x="73" y="118"/>
                      <a:pt x="73" y="118"/>
                      <a:pt x="73" y="118"/>
                    </a:cubicBezTo>
                    <a:cubicBezTo>
                      <a:pt x="92" y="87"/>
                      <a:pt x="92" y="87"/>
                      <a:pt x="92" y="87"/>
                    </a:cubicBezTo>
                    <a:cubicBezTo>
                      <a:pt x="93" y="85"/>
                      <a:pt x="93" y="82"/>
                      <a:pt x="90" y="80"/>
                    </a:cubicBezTo>
                    <a:cubicBezTo>
                      <a:pt x="88" y="79"/>
                      <a:pt x="85" y="80"/>
                      <a:pt x="83" y="82"/>
                    </a:cubicBezTo>
                    <a:cubicBezTo>
                      <a:pt x="69" y="106"/>
                      <a:pt x="69" y="106"/>
                      <a:pt x="69" y="106"/>
                    </a:cubicBezTo>
                    <a:cubicBezTo>
                      <a:pt x="62" y="86"/>
                      <a:pt x="62" y="86"/>
                      <a:pt x="62" y="86"/>
                    </a:cubicBezTo>
                    <a:cubicBezTo>
                      <a:pt x="73" y="65"/>
                      <a:pt x="73" y="65"/>
                      <a:pt x="73" y="65"/>
                    </a:cubicBezTo>
                    <a:cubicBezTo>
                      <a:pt x="75" y="63"/>
                      <a:pt x="74" y="60"/>
                      <a:pt x="71" y="59"/>
                    </a:cubicBezTo>
                    <a:cubicBezTo>
                      <a:pt x="69" y="57"/>
                      <a:pt x="66" y="58"/>
                      <a:pt x="65" y="61"/>
                    </a:cubicBezTo>
                    <a:cubicBezTo>
                      <a:pt x="57" y="73"/>
                      <a:pt x="57" y="73"/>
                      <a:pt x="57" y="73"/>
                    </a:cubicBezTo>
                    <a:cubicBezTo>
                      <a:pt x="47" y="42"/>
                      <a:pt x="47" y="42"/>
                      <a:pt x="47" y="42"/>
                    </a:cubicBezTo>
                    <a:cubicBezTo>
                      <a:pt x="46" y="40"/>
                      <a:pt x="44" y="38"/>
                      <a:pt x="41" y="39"/>
                    </a:cubicBezTo>
                    <a:cubicBezTo>
                      <a:pt x="38" y="40"/>
                      <a:pt x="37" y="43"/>
                      <a:pt x="38" y="45"/>
                    </a:cubicBezTo>
                    <a:cubicBezTo>
                      <a:pt x="48" y="76"/>
                      <a:pt x="48" y="76"/>
                      <a:pt x="48" y="76"/>
                    </a:cubicBezTo>
                    <a:cubicBezTo>
                      <a:pt x="35" y="70"/>
                      <a:pt x="35" y="70"/>
                      <a:pt x="35" y="70"/>
                    </a:cubicBezTo>
                    <a:cubicBezTo>
                      <a:pt x="32" y="69"/>
                      <a:pt x="29" y="70"/>
                      <a:pt x="28" y="73"/>
                    </a:cubicBezTo>
                    <a:cubicBezTo>
                      <a:pt x="27" y="76"/>
                      <a:pt x="28" y="78"/>
                      <a:pt x="31" y="80"/>
                    </a:cubicBezTo>
                    <a:cubicBezTo>
                      <a:pt x="52" y="89"/>
                      <a:pt x="52" y="89"/>
                      <a:pt x="52" y="89"/>
                    </a:cubicBezTo>
                    <a:cubicBezTo>
                      <a:pt x="59" y="109"/>
                      <a:pt x="59" y="109"/>
                      <a:pt x="59" y="109"/>
                    </a:cubicBezTo>
                    <a:cubicBezTo>
                      <a:pt x="33" y="99"/>
                      <a:pt x="33" y="99"/>
                      <a:pt x="33" y="99"/>
                    </a:cubicBezTo>
                    <a:cubicBezTo>
                      <a:pt x="30" y="98"/>
                      <a:pt x="27" y="99"/>
                      <a:pt x="26" y="102"/>
                    </a:cubicBezTo>
                    <a:cubicBezTo>
                      <a:pt x="25" y="104"/>
                      <a:pt x="27" y="107"/>
                      <a:pt x="29" y="108"/>
                    </a:cubicBezTo>
                    <a:cubicBezTo>
                      <a:pt x="63" y="121"/>
                      <a:pt x="63" y="121"/>
                      <a:pt x="63" y="121"/>
                    </a:cubicBezTo>
                    <a:cubicBezTo>
                      <a:pt x="69" y="140"/>
                      <a:pt x="69" y="140"/>
                      <a:pt x="69" y="140"/>
                    </a:cubicBezTo>
                    <a:cubicBezTo>
                      <a:pt x="57" y="143"/>
                      <a:pt x="45" y="142"/>
                      <a:pt x="36" y="136"/>
                    </a:cubicBezTo>
                    <a:cubicBezTo>
                      <a:pt x="24" y="129"/>
                      <a:pt x="18" y="117"/>
                      <a:pt x="15" y="100"/>
                    </a:cubicBezTo>
                    <a:cubicBezTo>
                      <a:pt x="11" y="75"/>
                      <a:pt x="26" y="29"/>
                      <a:pt x="32" y="13"/>
                    </a:cubicBezTo>
                    <a:cubicBezTo>
                      <a:pt x="46" y="22"/>
                      <a:pt x="86" y="50"/>
                      <a:pt x="98" y="72"/>
                    </a:cubicBezTo>
                    <a:cubicBezTo>
                      <a:pt x="107" y="88"/>
                      <a:pt x="108" y="101"/>
                      <a:pt x="103" y="113"/>
                    </a:cubicBezTo>
                    <a:close/>
                  </a:path>
                </a:pathLst>
              </a:custGeom>
              <a:grp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pic>
          <p:nvPicPr>
            <p:cNvPr id="69" name="Picture 2">
              <a:extLst>
                <a:ext uri="{FF2B5EF4-FFF2-40B4-BE49-F238E27FC236}">
                  <a16:creationId xmlns:a16="http://schemas.microsoft.com/office/drawing/2014/main" id="{373DC4FC-EC87-BE17-222C-324F9FBD44A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13467" y="4557379"/>
              <a:ext cx="799222" cy="19267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Johnson Controls - Wikipedia">
              <a:extLst>
                <a:ext uri="{FF2B5EF4-FFF2-40B4-BE49-F238E27FC236}">
                  <a16:creationId xmlns:a16="http://schemas.microsoft.com/office/drawing/2014/main" id="{FB5194A5-2DF0-CC21-F4CF-E86F53C8EA9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320120" y="4766666"/>
              <a:ext cx="597813" cy="265180"/>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04C588E4-B050-87F7-30FF-6803463905A8}"/>
                </a:ext>
              </a:extLst>
            </p:cNvPr>
            <p:cNvSpPr txBox="1"/>
            <p:nvPr/>
          </p:nvSpPr>
          <p:spPr>
            <a:xfrm>
              <a:off x="9057654" y="6152406"/>
              <a:ext cx="207591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Manufacturers and suppliers of energy-efficient technologies</a:t>
              </a:r>
            </a:p>
          </p:txBody>
        </p:sp>
        <p:grpSp>
          <p:nvGrpSpPr>
            <p:cNvPr id="73" name="Google Shape;5513;p30">
              <a:extLst>
                <a:ext uri="{FF2B5EF4-FFF2-40B4-BE49-F238E27FC236}">
                  <a16:creationId xmlns:a16="http://schemas.microsoft.com/office/drawing/2014/main" id="{9EC7D008-6620-654E-8510-3C3A58F9BD55}"/>
                </a:ext>
              </a:extLst>
            </p:cNvPr>
            <p:cNvGrpSpPr/>
            <p:nvPr/>
          </p:nvGrpSpPr>
          <p:grpSpPr>
            <a:xfrm>
              <a:off x="8991824" y="5603740"/>
              <a:ext cx="343192" cy="446080"/>
              <a:chOff x="5907088" y="4630738"/>
              <a:chExt cx="195263" cy="266701"/>
            </a:xfrm>
          </p:grpSpPr>
          <p:sp>
            <p:nvSpPr>
              <p:cNvPr id="74" name="Google Shape;5514;p30">
                <a:extLst>
                  <a:ext uri="{FF2B5EF4-FFF2-40B4-BE49-F238E27FC236}">
                    <a16:creationId xmlns:a16="http://schemas.microsoft.com/office/drawing/2014/main" id="{4AE88D4A-FDC3-6A79-9EB7-B1B5C32AB917}"/>
                  </a:ext>
                </a:extLst>
              </p:cNvPr>
              <p:cNvSpPr/>
              <p:nvPr/>
            </p:nvSpPr>
            <p:spPr>
              <a:xfrm>
                <a:off x="5926138" y="4630738"/>
                <a:ext cx="136525" cy="98425"/>
              </a:xfrm>
              <a:custGeom>
                <a:avLst/>
                <a:gdLst/>
                <a:ahLst/>
                <a:cxnLst/>
                <a:rect l="l" t="t" r="r" b="b"/>
                <a:pathLst>
                  <a:path w="137" h="98" extrusionOk="0">
                    <a:moveTo>
                      <a:pt x="6" y="98"/>
                    </a:moveTo>
                    <a:cubicBezTo>
                      <a:pt x="8" y="98"/>
                      <a:pt x="9" y="97"/>
                      <a:pt x="10" y="96"/>
                    </a:cubicBezTo>
                    <a:cubicBezTo>
                      <a:pt x="15" y="89"/>
                      <a:pt x="22" y="83"/>
                      <a:pt x="29" y="77"/>
                    </a:cubicBezTo>
                    <a:cubicBezTo>
                      <a:pt x="36" y="85"/>
                      <a:pt x="44" y="91"/>
                      <a:pt x="54" y="93"/>
                    </a:cubicBezTo>
                    <a:cubicBezTo>
                      <a:pt x="56" y="93"/>
                      <a:pt x="60" y="94"/>
                      <a:pt x="63" y="94"/>
                    </a:cubicBezTo>
                    <a:cubicBezTo>
                      <a:pt x="71" y="94"/>
                      <a:pt x="80" y="92"/>
                      <a:pt x="91" y="84"/>
                    </a:cubicBezTo>
                    <a:cubicBezTo>
                      <a:pt x="111" y="70"/>
                      <a:pt x="133" y="21"/>
                      <a:pt x="134" y="19"/>
                    </a:cubicBezTo>
                    <a:cubicBezTo>
                      <a:pt x="137" y="13"/>
                      <a:pt x="137" y="13"/>
                      <a:pt x="137" y="13"/>
                    </a:cubicBezTo>
                    <a:cubicBezTo>
                      <a:pt x="131" y="12"/>
                      <a:pt x="131" y="12"/>
                      <a:pt x="131" y="12"/>
                    </a:cubicBezTo>
                    <a:cubicBezTo>
                      <a:pt x="128" y="11"/>
                      <a:pt x="78" y="0"/>
                      <a:pt x="53" y="7"/>
                    </a:cubicBezTo>
                    <a:cubicBezTo>
                      <a:pt x="33" y="13"/>
                      <a:pt x="25" y="24"/>
                      <a:pt x="22" y="32"/>
                    </a:cubicBezTo>
                    <a:cubicBezTo>
                      <a:pt x="17" y="43"/>
                      <a:pt x="18" y="57"/>
                      <a:pt x="24" y="68"/>
                    </a:cubicBezTo>
                    <a:cubicBezTo>
                      <a:pt x="15" y="75"/>
                      <a:pt x="8" y="82"/>
                      <a:pt x="2" y="90"/>
                    </a:cubicBezTo>
                    <a:cubicBezTo>
                      <a:pt x="0" y="93"/>
                      <a:pt x="1" y="96"/>
                      <a:pt x="3" y="97"/>
                    </a:cubicBezTo>
                    <a:cubicBezTo>
                      <a:pt x="4" y="98"/>
                      <a:pt x="5" y="98"/>
                      <a:pt x="6" y="98"/>
                    </a:cubicBezTo>
                    <a:close/>
                    <a:moveTo>
                      <a:pt x="31" y="36"/>
                    </a:moveTo>
                    <a:cubicBezTo>
                      <a:pt x="35" y="27"/>
                      <a:pt x="43" y="20"/>
                      <a:pt x="56" y="17"/>
                    </a:cubicBezTo>
                    <a:cubicBezTo>
                      <a:pt x="56" y="17"/>
                      <a:pt x="56" y="17"/>
                      <a:pt x="56" y="17"/>
                    </a:cubicBezTo>
                    <a:cubicBezTo>
                      <a:pt x="61" y="15"/>
                      <a:pt x="67" y="14"/>
                      <a:pt x="74" y="14"/>
                    </a:cubicBezTo>
                    <a:cubicBezTo>
                      <a:pt x="92" y="14"/>
                      <a:pt x="112" y="18"/>
                      <a:pt x="122" y="20"/>
                    </a:cubicBezTo>
                    <a:cubicBezTo>
                      <a:pt x="116" y="33"/>
                      <a:pt x="99" y="66"/>
                      <a:pt x="85" y="76"/>
                    </a:cubicBezTo>
                    <a:cubicBezTo>
                      <a:pt x="75" y="83"/>
                      <a:pt x="65" y="85"/>
                      <a:pt x="56" y="83"/>
                    </a:cubicBezTo>
                    <a:cubicBezTo>
                      <a:pt x="49" y="81"/>
                      <a:pt x="42" y="77"/>
                      <a:pt x="37" y="71"/>
                    </a:cubicBezTo>
                    <a:cubicBezTo>
                      <a:pt x="46" y="65"/>
                      <a:pt x="54" y="60"/>
                      <a:pt x="62" y="56"/>
                    </a:cubicBezTo>
                    <a:cubicBezTo>
                      <a:pt x="78" y="64"/>
                      <a:pt x="78" y="64"/>
                      <a:pt x="78" y="64"/>
                    </a:cubicBezTo>
                    <a:cubicBezTo>
                      <a:pt x="79" y="64"/>
                      <a:pt x="80" y="64"/>
                      <a:pt x="80" y="64"/>
                    </a:cubicBezTo>
                    <a:cubicBezTo>
                      <a:pt x="82" y="64"/>
                      <a:pt x="84" y="63"/>
                      <a:pt x="85" y="61"/>
                    </a:cubicBezTo>
                    <a:cubicBezTo>
                      <a:pt x="86" y="59"/>
                      <a:pt x="85" y="56"/>
                      <a:pt x="82" y="55"/>
                    </a:cubicBezTo>
                    <a:cubicBezTo>
                      <a:pt x="74" y="51"/>
                      <a:pt x="74" y="51"/>
                      <a:pt x="74" y="51"/>
                    </a:cubicBezTo>
                    <a:cubicBezTo>
                      <a:pt x="85" y="45"/>
                      <a:pt x="94" y="42"/>
                      <a:pt x="94" y="42"/>
                    </a:cubicBezTo>
                    <a:cubicBezTo>
                      <a:pt x="97" y="41"/>
                      <a:pt x="98" y="38"/>
                      <a:pt x="97" y="35"/>
                    </a:cubicBezTo>
                    <a:cubicBezTo>
                      <a:pt x="96" y="33"/>
                      <a:pt x="93" y="31"/>
                      <a:pt x="91" y="32"/>
                    </a:cubicBezTo>
                    <a:cubicBezTo>
                      <a:pt x="89" y="33"/>
                      <a:pt x="73" y="39"/>
                      <a:pt x="55" y="49"/>
                    </a:cubicBezTo>
                    <a:cubicBezTo>
                      <a:pt x="56" y="36"/>
                      <a:pt x="56" y="36"/>
                      <a:pt x="56" y="36"/>
                    </a:cubicBezTo>
                    <a:cubicBezTo>
                      <a:pt x="56" y="34"/>
                      <a:pt x="54" y="31"/>
                      <a:pt x="51" y="31"/>
                    </a:cubicBezTo>
                    <a:cubicBezTo>
                      <a:pt x="48" y="31"/>
                      <a:pt x="46" y="33"/>
                      <a:pt x="46" y="36"/>
                    </a:cubicBezTo>
                    <a:cubicBezTo>
                      <a:pt x="44" y="54"/>
                      <a:pt x="44" y="54"/>
                      <a:pt x="44" y="54"/>
                    </a:cubicBezTo>
                    <a:cubicBezTo>
                      <a:pt x="44" y="54"/>
                      <a:pt x="44" y="54"/>
                      <a:pt x="44" y="55"/>
                    </a:cubicBezTo>
                    <a:cubicBezTo>
                      <a:pt x="40" y="57"/>
                      <a:pt x="36" y="60"/>
                      <a:pt x="32" y="63"/>
                    </a:cubicBezTo>
                    <a:cubicBezTo>
                      <a:pt x="28" y="54"/>
                      <a:pt x="28" y="44"/>
                      <a:pt x="31" y="36"/>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75" name="Google Shape;5515;p30">
                <a:extLst>
                  <a:ext uri="{FF2B5EF4-FFF2-40B4-BE49-F238E27FC236}">
                    <a16:creationId xmlns:a16="http://schemas.microsoft.com/office/drawing/2014/main" id="{3847A935-94E2-E68E-825B-97FD1CEC5CC7}"/>
                  </a:ext>
                </a:extLst>
              </p:cNvPr>
              <p:cNvSpPr/>
              <p:nvPr/>
            </p:nvSpPr>
            <p:spPr>
              <a:xfrm>
                <a:off x="5907088" y="4740276"/>
                <a:ext cx="195263" cy="157163"/>
              </a:xfrm>
              <a:custGeom>
                <a:avLst/>
                <a:gdLst/>
                <a:ahLst/>
                <a:cxnLst/>
                <a:rect l="l" t="t" r="r" b="b"/>
                <a:pathLst>
                  <a:path w="123" h="99" extrusionOk="0">
                    <a:moveTo>
                      <a:pt x="91" y="36"/>
                    </a:moveTo>
                    <a:lnTo>
                      <a:pt x="60" y="54"/>
                    </a:lnTo>
                    <a:lnTo>
                      <a:pt x="60" y="36"/>
                    </a:lnTo>
                    <a:lnTo>
                      <a:pt x="27" y="54"/>
                    </a:lnTo>
                    <a:lnTo>
                      <a:pt x="27" y="0"/>
                    </a:lnTo>
                    <a:lnTo>
                      <a:pt x="0" y="0"/>
                    </a:lnTo>
                    <a:lnTo>
                      <a:pt x="0" y="99"/>
                    </a:lnTo>
                    <a:lnTo>
                      <a:pt x="6" y="99"/>
                    </a:lnTo>
                    <a:lnTo>
                      <a:pt x="6" y="6"/>
                    </a:lnTo>
                    <a:lnTo>
                      <a:pt x="21" y="6"/>
                    </a:lnTo>
                    <a:lnTo>
                      <a:pt x="21" y="66"/>
                    </a:lnTo>
                    <a:lnTo>
                      <a:pt x="53" y="47"/>
                    </a:lnTo>
                    <a:lnTo>
                      <a:pt x="53" y="65"/>
                    </a:lnTo>
                    <a:lnTo>
                      <a:pt x="85" y="47"/>
                    </a:lnTo>
                    <a:lnTo>
                      <a:pt x="85" y="65"/>
                    </a:lnTo>
                    <a:lnTo>
                      <a:pt x="116" y="47"/>
                    </a:lnTo>
                    <a:lnTo>
                      <a:pt x="116" y="99"/>
                    </a:lnTo>
                    <a:lnTo>
                      <a:pt x="123" y="99"/>
                    </a:lnTo>
                    <a:lnTo>
                      <a:pt x="123" y="36"/>
                    </a:lnTo>
                    <a:lnTo>
                      <a:pt x="91" y="54"/>
                    </a:lnTo>
                    <a:lnTo>
                      <a:pt x="91" y="36"/>
                    </a:ln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76" name="Google Shape;5516;p30">
                <a:extLst>
                  <a:ext uri="{FF2B5EF4-FFF2-40B4-BE49-F238E27FC236}">
                    <a16:creationId xmlns:a16="http://schemas.microsoft.com/office/drawing/2014/main" id="{73EFBB85-FB23-F82E-200F-52449511D83E}"/>
                  </a:ext>
                </a:extLst>
              </p:cNvPr>
              <p:cNvSpPr/>
              <p:nvPr/>
            </p:nvSpPr>
            <p:spPr>
              <a:xfrm>
                <a:off x="5954713" y="4859338"/>
                <a:ext cx="22200" cy="11100"/>
              </a:xfrm>
              <a:prstGeom prst="rect">
                <a:avLst/>
              </a:pr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77" name="Google Shape;5517;p30">
                <a:extLst>
                  <a:ext uri="{FF2B5EF4-FFF2-40B4-BE49-F238E27FC236}">
                    <a16:creationId xmlns:a16="http://schemas.microsoft.com/office/drawing/2014/main" id="{7C57B173-8CF4-C17A-20C6-5B5A42BA3F44}"/>
                  </a:ext>
                </a:extLst>
              </p:cNvPr>
              <p:cNvSpPr/>
              <p:nvPr/>
            </p:nvSpPr>
            <p:spPr>
              <a:xfrm>
                <a:off x="6005513" y="4859338"/>
                <a:ext cx="20700" cy="11100"/>
              </a:xfrm>
              <a:prstGeom prst="rect">
                <a:avLst/>
              </a:pr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78" name="Google Shape;5518;p30">
                <a:extLst>
                  <a:ext uri="{FF2B5EF4-FFF2-40B4-BE49-F238E27FC236}">
                    <a16:creationId xmlns:a16="http://schemas.microsoft.com/office/drawing/2014/main" id="{66A1A61E-AAE1-B0F3-66C0-457BDEE74D0C}"/>
                  </a:ext>
                </a:extLst>
              </p:cNvPr>
              <p:cNvSpPr/>
              <p:nvPr/>
            </p:nvSpPr>
            <p:spPr>
              <a:xfrm>
                <a:off x="6056313" y="4859338"/>
                <a:ext cx="22200" cy="11100"/>
              </a:xfrm>
              <a:prstGeom prst="rect">
                <a:avLst/>
              </a:pr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pic>
          <p:nvPicPr>
            <p:cNvPr id="79" name="Picture 4">
              <a:extLst>
                <a:ext uri="{FF2B5EF4-FFF2-40B4-BE49-F238E27FC236}">
                  <a16:creationId xmlns:a16="http://schemas.microsoft.com/office/drawing/2014/main" id="{5CF3E8BF-4DDA-BF40-17C8-4BECF61B7FF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97866" y="5036761"/>
              <a:ext cx="802484" cy="188624"/>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ED1DBD2D-C52B-8B32-733B-66CD86C6D899}"/>
                </a:ext>
              </a:extLst>
            </p:cNvPr>
            <p:cNvSpPr txBox="1"/>
            <p:nvPr/>
          </p:nvSpPr>
          <p:spPr>
            <a:xfrm>
              <a:off x="7332590" y="6206302"/>
              <a:ext cx="166027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Financial institution and investors</a:t>
              </a:r>
            </a:p>
          </p:txBody>
        </p:sp>
        <p:grpSp>
          <p:nvGrpSpPr>
            <p:cNvPr id="82" name="Google Shape;954;p12">
              <a:extLst>
                <a:ext uri="{FF2B5EF4-FFF2-40B4-BE49-F238E27FC236}">
                  <a16:creationId xmlns:a16="http://schemas.microsoft.com/office/drawing/2014/main" id="{6FE8ED9F-1396-977E-FBFD-98C2E81E459C}"/>
                </a:ext>
              </a:extLst>
            </p:cNvPr>
            <p:cNvGrpSpPr/>
            <p:nvPr/>
          </p:nvGrpSpPr>
          <p:grpSpPr>
            <a:xfrm>
              <a:off x="8097642" y="5630491"/>
              <a:ext cx="459022" cy="440513"/>
              <a:chOff x="1587" y="2778126"/>
              <a:chExt cx="258763" cy="255588"/>
            </a:xfrm>
          </p:grpSpPr>
          <p:sp>
            <p:nvSpPr>
              <p:cNvPr id="83" name="Google Shape;955;p12">
                <a:extLst>
                  <a:ext uri="{FF2B5EF4-FFF2-40B4-BE49-F238E27FC236}">
                    <a16:creationId xmlns:a16="http://schemas.microsoft.com/office/drawing/2014/main" id="{2AC21764-7B84-EE94-3BF4-51B6D4640487}"/>
                  </a:ext>
                </a:extLst>
              </p:cNvPr>
              <p:cNvSpPr/>
              <p:nvPr/>
            </p:nvSpPr>
            <p:spPr>
              <a:xfrm>
                <a:off x="1587" y="2778126"/>
                <a:ext cx="258763" cy="255588"/>
              </a:xfrm>
              <a:custGeom>
                <a:avLst/>
                <a:gdLst/>
                <a:ahLst/>
                <a:cxnLst/>
                <a:rect l="l" t="t" r="r" b="b"/>
                <a:pathLst>
                  <a:path w="259" h="254" extrusionOk="0">
                    <a:moveTo>
                      <a:pt x="256" y="179"/>
                    </a:moveTo>
                    <a:cubicBezTo>
                      <a:pt x="252" y="172"/>
                      <a:pt x="244" y="169"/>
                      <a:pt x="236" y="171"/>
                    </a:cubicBezTo>
                    <a:cubicBezTo>
                      <a:pt x="224" y="175"/>
                      <a:pt x="224" y="175"/>
                      <a:pt x="224" y="175"/>
                    </a:cubicBezTo>
                    <a:cubicBezTo>
                      <a:pt x="203" y="167"/>
                      <a:pt x="203" y="167"/>
                      <a:pt x="203" y="167"/>
                    </a:cubicBezTo>
                    <a:cubicBezTo>
                      <a:pt x="193" y="159"/>
                      <a:pt x="193" y="159"/>
                      <a:pt x="193" y="159"/>
                    </a:cubicBezTo>
                    <a:cubicBezTo>
                      <a:pt x="184" y="143"/>
                      <a:pt x="184" y="143"/>
                      <a:pt x="184" y="143"/>
                    </a:cubicBezTo>
                    <a:cubicBezTo>
                      <a:pt x="176" y="142"/>
                      <a:pt x="176" y="142"/>
                      <a:pt x="176" y="142"/>
                    </a:cubicBezTo>
                    <a:cubicBezTo>
                      <a:pt x="176" y="135"/>
                      <a:pt x="174" y="128"/>
                      <a:pt x="172" y="122"/>
                    </a:cubicBezTo>
                    <a:cubicBezTo>
                      <a:pt x="176" y="121"/>
                      <a:pt x="176" y="121"/>
                      <a:pt x="176" y="121"/>
                    </a:cubicBezTo>
                    <a:cubicBezTo>
                      <a:pt x="177" y="121"/>
                      <a:pt x="190" y="117"/>
                      <a:pt x="195" y="107"/>
                    </a:cubicBezTo>
                    <a:cubicBezTo>
                      <a:pt x="200" y="97"/>
                      <a:pt x="195" y="85"/>
                      <a:pt x="195" y="84"/>
                    </a:cubicBezTo>
                    <a:cubicBezTo>
                      <a:pt x="193" y="80"/>
                      <a:pt x="193" y="80"/>
                      <a:pt x="193" y="80"/>
                    </a:cubicBezTo>
                    <a:cubicBezTo>
                      <a:pt x="189" y="81"/>
                      <a:pt x="189" y="81"/>
                      <a:pt x="189" y="81"/>
                    </a:cubicBezTo>
                    <a:cubicBezTo>
                      <a:pt x="188" y="81"/>
                      <a:pt x="175" y="84"/>
                      <a:pt x="170" y="94"/>
                    </a:cubicBezTo>
                    <a:cubicBezTo>
                      <a:pt x="165" y="105"/>
                      <a:pt x="169" y="117"/>
                      <a:pt x="170" y="118"/>
                    </a:cubicBezTo>
                    <a:cubicBezTo>
                      <a:pt x="171" y="121"/>
                      <a:pt x="171" y="121"/>
                      <a:pt x="171" y="121"/>
                    </a:cubicBezTo>
                    <a:cubicBezTo>
                      <a:pt x="169" y="117"/>
                      <a:pt x="167" y="113"/>
                      <a:pt x="164" y="109"/>
                    </a:cubicBezTo>
                    <a:cubicBezTo>
                      <a:pt x="161" y="103"/>
                      <a:pt x="157" y="97"/>
                      <a:pt x="156" y="90"/>
                    </a:cubicBezTo>
                    <a:cubicBezTo>
                      <a:pt x="176" y="85"/>
                      <a:pt x="191" y="67"/>
                      <a:pt x="191" y="45"/>
                    </a:cubicBezTo>
                    <a:cubicBezTo>
                      <a:pt x="191" y="20"/>
                      <a:pt x="171" y="0"/>
                      <a:pt x="145" y="0"/>
                    </a:cubicBezTo>
                    <a:cubicBezTo>
                      <a:pt x="120" y="0"/>
                      <a:pt x="100" y="20"/>
                      <a:pt x="100" y="45"/>
                    </a:cubicBezTo>
                    <a:cubicBezTo>
                      <a:pt x="100" y="71"/>
                      <a:pt x="120" y="91"/>
                      <a:pt x="145" y="91"/>
                    </a:cubicBezTo>
                    <a:cubicBezTo>
                      <a:pt x="145" y="91"/>
                      <a:pt x="145" y="91"/>
                      <a:pt x="146" y="91"/>
                    </a:cubicBezTo>
                    <a:cubicBezTo>
                      <a:pt x="147" y="100"/>
                      <a:pt x="151" y="108"/>
                      <a:pt x="156" y="115"/>
                    </a:cubicBezTo>
                    <a:cubicBezTo>
                      <a:pt x="161" y="123"/>
                      <a:pt x="166" y="131"/>
                      <a:pt x="166" y="141"/>
                    </a:cubicBezTo>
                    <a:cubicBezTo>
                      <a:pt x="159" y="141"/>
                      <a:pt x="159" y="141"/>
                      <a:pt x="159" y="141"/>
                    </a:cubicBezTo>
                    <a:cubicBezTo>
                      <a:pt x="147" y="147"/>
                      <a:pt x="147" y="147"/>
                      <a:pt x="147" y="147"/>
                    </a:cubicBezTo>
                    <a:cubicBezTo>
                      <a:pt x="138" y="158"/>
                      <a:pt x="138" y="158"/>
                      <a:pt x="138" y="158"/>
                    </a:cubicBezTo>
                    <a:cubicBezTo>
                      <a:pt x="126" y="156"/>
                      <a:pt x="126" y="156"/>
                      <a:pt x="126" y="156"/>
                    </a:cubicBezTo>
                    <a:cubicBezTo>
                      <a:pt x="107" y="162"/>
                      <a:pt x="107" y="162"/>
                      <a:pt x="107" y="162"/>
                    </a:cubicBezTo>
                    <a:cubicBezTo>
                      <a:pt x="96" y="158"/>
                      <a:pt x="96" y="158"/>
                      <a:pt x="96" y="158"/>
                    </a:cubicBezTo>
                    <a:cubicBezTo>
                      <a:pt x="92" y="156"/>
                      <a:pt x="87" y="155"/>
                      <a:pt x="82" y="155"/>
                    </a:cubicBezTo>
                    <a:cubicBezTo>
                      <a:pt x="57" y="155"/>
                      <a:pt x="57" y="155"/>
                      <a:pt x="57" y="155"/>
                    </a:cubicBezTo>
                    <a:cubicBezTo>
                      <a:pt x="57" y="153"/>
                      <a:pt x="57" y="153"/>
                      <a:pt x="57" y="153"/>
                    </a:cubicBezTo>
                    <a:cubicBezTo>
                      <a:pt x="57" y="148"/>
                      <a:pt x="52" y="143"/>
                      <a:pt x="46" y="143"/>
                    </a:cubicBezTo>
                    <a:cubicBezTo>
                      <a:pt x="0" y="143"/>
                      <a:pt x="0" y="143"/>
                      <a:pt x="0" y="143"/>
                    </a:cubicBezTo>
                    <a:cubicBezTo>
                      <a:pt x="0" y="153"/>
                      <a:pt x="0" y="153"/>
                      <a:pt x="0" y="153"/>
                    </a:cubicBezTo>
                    <a:cubicBezTo>
                      <a:pt x="47" y="153"/>
                      <a:pt x="47" y="153"/>
                      <a:pt x="47" y="153"/>
                    </a:cubicBezTo>
                    <a:cubicBezTo>
                      <a:pt x="46" y="231"/>
                      <a:pt x="46" y="231"/>
                      <a:pt x="46" y="231"/>
                    </a:cubicBezTo>
                    <a:cubicBezTo>
                      <a:pt x="0" y="231"/>
                      <a:pt x="0" y="231"/>
                      <a:pt x="0" y="231"/>
                    </a:cubicBezTo>
                    <a:cubicBezTo>
                      <a:pt x="0" y="241"/>
                      <a:pt x="0" y="241"/>
                      <a:pt x="0" y="241"/>
                    </a:cubicBezTo>
                    <a:cubicBezTo>
                      <a:pt x="46" y="241"/>
                      <a:pt x="46" y="241"/>
                      <a:pt x="46" y="241"/>
                    </a:cubicBezTo>
                    <a:cubicBezTo>
                      <a:pt x="52" y="241"/>
                      <a:pt x="57" y="236"/>
                      <a:pt x="57" y="230"/>
                    </a:cubicBezTo>
                    <a:cubicBezTo>
                      <a:pt x="57" y="230"/>
                      <a:pt x="57" y="230"/>
                      <a:pt x="57" y="230"/>
                    </a:cubicBezTo>
                    <a:cubicBezTo>
                      <a:pt x="64" y="230"/>
                      <a:pt x="64" y="230"/>
                      <a:pt x="64" y="230"/>
                    </a:cubicBezTo>
                    <a:cubicBezTo>
                      <a:pt x="68" y="230"/>
                      <a:pt x="73" y="231"/>
                      <a:pt x="77" y="232"/>
                    </a:cubicBezTo>
                    <a:cubicBezTo>
                      <a:pt x="130" y="252"/>
                      <a:pt x="130" y="252"/>
                      <a:pt x="130" y="252"/>
                    </a:cubicBezTo>
                    <a:cubicBezTo>
                      <a:pt x="134" y="253"/>
                      <a:pt x="138" y="254"/>
                      <a:pt x="142" y="254"/>
                    </a:cubicBezTo>
                    <a:cubicBezTo>
                      <a:pt x="147" y="254"/>
                      <a:pt x="153" y="253"/>
                      <a:pt x="157" y="250"/>
                    </a:cubicBezTo>
                    <a:cubicBezTo>
                      <a:pt x="249" y="203"/>
                      <a:pt x="249" y="203"/>
                      <a:pt x="249" y="203"/>
                    </a:cubicBezTo>
                    <a:cubicBezTo>
                      <a:pt x="254" y="201"/>
                      <a:pt x="257" y="197"/>
                      <a:pt x="258" y="193"/>
                    </a:cubicBezTo>
                    <a:cubicBezTo>
                      <a:pt x="259" y="188"/>
                      <a:pt x="259" y="183"/>
                      <a:pt x="256" y="179"/>
                    </a:cubicBezTo>
                    <a:close/>
                    <a:moveTo>
                      <a:pt x="179" y="99"/>
                    </a:moveTo>
                    <a:cubicBezTo>
                      <a:pt x="181" y="96"/>
                      <a:pt x="184" y="94"/>
                      <a:pt x="187" y="93"/>
                    </a:cubicBezTo>
                    <a:cubicBezTo>
                      <a:pt x="187" y="96"/>
                      <a:pt x="187" y="100"/>
                      <a:pt x="186" y="103"/>
                    </a:cubicBezTo>
                    <a:cubicBezTo>
                      <a:pt x="184" y="106"/>
                      <a:pt x="181" y="108"/>
                      <a:pt x="178" y="109"/>
                    </a:cubicBezTo>
                    <a:cubicBezTo>
                      <a:pt x="178" y="106"/>
                      <a:pt x="178" y="102"/>
                      <a:pt x="179" y="99"/>
                    </a:cubicBezTo>
                    <a:close/>
                    <a:moveTo>
                      <a:pt x="57" y="165"/>
                    </a:moveTo>
                    <a:cubicBezTo>
                      <a:pt x="82" y="165"/>
                      <a:pt x="82" y="165"/>
                      <a:pt x="82" y="165"/>
                    </a:cubicBezTo>
                    <a:cubicBezTo>
                      <a:pt x="86" y="165"/>
                      <a:pt x="89" y="166"/>
                      <a:pt x="92" y="167"/>
                    </a:cubicBezTo>
                    <a:cubicBezTo>
                      <a:pt x="107" y="173"/>
                      <a:pt x="107" y="173"/>
                      <a:pt x="107" y="173"/>
                    </a:cubicBezTo>
                    <a:cubicBezTo>
                      <a:pt x="107" y="173"/>
                      <a:pt x="107" y="173"/>
                      <a:pt x="107" y="173"/>
                    </a:cubicBezTo>
                    <a:cubicBezTo>
                      <a:pt x="107" y="173"/>
                      <a:pt x="107" y="173"/>
                      <a:pt x="107" y="173"/>
                    </a:cubicBezTo>
                    <a:cubicBezTo>
                      <a:pt x="119" y="178"/>
                      <a:pt x="119" y="178"/>
                      <a:pt x="119" y="178"/>
                    </a:cubicBezTo>
                    <a:cubicBezTo>
                      <a:pt x="123" y="180"/>
                      <a:pt x="128" y="181"/>
                      <a:pt x="133" y="181"/>
                    </a:cubicBezTo>
                    <a:cubicBezTo>
                      <a:pt x="168" y="181"/>
                      <a:pt x="168" y="181"/>
                      <a:pt x="168" y="181"/>
                    </a:cubicBezTo>
                    <a:cubicBezTo>
                      <a:pt x="172" y="181"/>
                      <a:pt x="175" y="184"/>
                      <a:pt x="175" y="189"/>
                    </a:cubicBezTo>
                    <a:cubicBezTo>
                      <a:pt x="175" y="193"/>
                      <a:pt x="172" y="196"/>
                      <a:pt x="168" y="196"/>
                    </a:cubicBezTo>
                    <a:cubicBezTo>
                      <a:pt x="122" y="196"/>
                      <a:pt x="122" y="196"/>
                      <a:pt x="122" y="196"/>
                    </a:cubicBezTo>
                    <a:cubicBezTo>
                      <a:pt x="114" y="196"/>
                      <a:pt x="107" y="203"/>
                      <a:pt x="107" y="212"/>
                    </a:cubicBezTo>
                    <a:cubicBezTo>
                      <a:pt x="107" y="214"/>
                      <a:pt x="107" y="214"/>
                      <a:pt x="107" y="214"/>
                    </a:cubicBezTo>
                    <a:cubicBezTo>
                      <a:pt x="117" y="214"/>
                      <a:pt x="117" y="214"/>
                      <a:pt x="117" y="214"/>
                    </a:cubicBezTo>
                    <a:cubicBezTo>
                      <a:pt x="117" y="212"/>
                      <a:pt x="117" y="212"/>
                      <a:pt x="117" y="212"/>
                    </a:cubicBezTo>
                    <a:cubicBezTo>
                      <a:pt x="117" y="209"/>
                      <a:pt x="120" y="207"/>
                      <a:pt x="122" y="207"/>
                    </a:cubicBezTo>
                    <a:cubicBezTo>
                      <a:pt x="168" y="207"/>
                      <a:pt x="168" y="207"/>
                      <a:pt x="168" y="207"/>
                    </a:cubicBezTo>
                    <a:cubicBezTo>
                      <a:pt x="173" y="207"/>
                      <a:pt x="178" y="204"/>
                      <a:pt x="181" y="200"/>
                    </a:cubicBezTo>
                    <a:cubicBezTo>
                      <a:pt x="223" y="187"/>
                      <a:pt x="223" y="187"/>
                      <a:pt x="223" y="187"/>
                    </a:cubicBezTo>
                    <a:cubicBezTo>
                      <a:pt x="223" y="187"/>
                      <a:pt x="223" y="187"/>
                      <a:pt x="223" y="187"/>
                    </a:cubicBezTo>
                    <a:cubicBezTo>
                      <a:pt x="223" y="186"/>
                      <a:pt x="223" y="186"/>
                      <a:pt x="223" y="186"/>
                    </a:cubicBezTo>
                    <a:cubicBezTo>
                      <a:pt x="239" y="181"/>
                      <a:pt x="239" y="181"/>
                      <a:pt x="239" y="181"/>
                    </a:cubicBezTo>
                    <a:cubicBezTo>
                      <a:pt x="242" y="180"/>
                      <a:pt x="246" y="182"/>
                      <a:pt x="247" y="184"/>
                    </a:cubicBezTo>
                    <a:cubicBezTo>
                      <a:pt x="248" y="186"/>
                      <a:pt x="249" y="188"/>
                      <a:pt x="248" y="190"/>
                    </a:cubicBezTo>
                    <a:cubicBezTo>
                      <a:pt x="248" y="192"/>
                      <a:pt x="246" y="193"/>
                      <a:pt x="245" y="194"/>
                    </a:cubicBezTo>
                    <a:cubicBezTo>
                      <a:pt x="153" y="241"/>
                      <a:pt x="153" y="241"/>
                      <a:pt x="153" y="241"/>
                    </a:cubicBezTo>
                    <a:cubicBezTo>
                      <a:pt x="147" y="244"/>
                      <a:pt x="140" y="245"/>
                      <a:pt x="133" y="242"/>
                    </a:cubicBezTo>
                    <a:cubicBezTo>
                      <a:pt x="80" y="223"/>
                      <a:pt x="80" y="223"/>
                      <a:pt x="80" y="223"/>
                    </a:cubicBezTo>
                    <a:cubicBezTo>
                      <a:pt x="75" y="221"/>
                      <a:pt x="70" y="220"/>
                      <a:pt x="64" y="220"/>
                    </a:cubicBezTo>
                    <a:cubicBezTo>
                      <a:pt x="57" y="220"/>
                      <a:pt x="57" y="220"/>
                      <a:pt x="57" y="220"/>
                    </a:cubicBezTo>
                    <a:lnTo>
                      <a:pt x="57" y="165"/>
                    </a:lnTo>
                    <a:close/>
                    <a:moveTo>
                      <a:pt x="186" y="188"/>
                    </a:moveTo>
                    <a:cubicBezTo>
                      <a:pt x="185" y="178"/>
                      <a:pt x="177" y="170"/>
                      <a:pt x="168" y="170"/>
                    </a:cubicBezTo>
                    <a:cubicBezTo>
                      <a:pt x="133" y="170"/>
                      <a:pt x="133" y="170"/>
                      <a:pt x="133" y="170"/>
                    </a:cubicBezTo>
                    <a:cubicBezTo>
                      <a:pt x="129" y="170"/>
                      <a:pt x="126" y="170"/>
                      <a:pt x="123" y="168"/>
                    </a:cubicBezTo>
                    <a:cubicBezTo>
                      <a:pt x="122" y="168"/>
                      <a:pt x="122" y="168"/>
                      <a:pt x="122" y="168"/>
                    </a:cubicBezTo>
                    <a:cubicBezTo>
                      <a:pt x="126" y="166"/>
                      <a:pt x="126" y="166"/>
                      <a:pt x="126" y="166"/>
                    </a:cubicBezTo>
                    <a:cubicBezTo>
                      <a:pt x="142" y="170"/>
                      <a:pt x="142" y="170"/>
                      <a:pt x="142" y="170"/>
                    </a:cubicBezTo>
                    <a:cubicBezTo>
                      <a:pt x="154" y="155"/>
                      <a:pt x="154" y="155"/>
                      <a:pt x="154" y="155"/>
                    </a:cubicBezTo>
                    <a:cubicBezTo>
                      <a:pt x="161" y="151"/>
                      <a:pt x="161" y="151"/>
                      <a:pt x="161" y="151"/>
                    </a:cubicBezTo>
                    <a:cubicBezTo>
                      <a:pt x="178" y="153"/>
                      <a:pt x="178" y="153"/>
                      <a:pt x="178" y="153"/>
                    </a:cubicBezTo>
                    <a:cubicBezTo>
                      <a:pt x="184" y="165"/>
                      <a:pt x="184" y="165"/>
                      <a:pt x="184" y="165"/>
                    </a:cubicBezTo>
                    <a:cubicBezTo>
                      <a:pt x="197" y="175"/>
                      <a:pt x="197" y="175"/>
                      <a:pt x="197" y="175"/>
                    </a:cubicBezTo>
                    <a:cubicBezTo>
                      <a:pt x="209" y="180"/>
                      <a:pt x="209" y="180"/>
                      <a:pt x="209" y="180"/>
                    </a:cubicBezTo>
                    <a:lnTo>
                      <a:pt x="186" y="188"/>
                    </a:lnTo>
                    <a:close/>
                    <a:moveTo>
                      <a:pt x="145" y="81"/>
                    </a:moveTo>
                    <a:cubicBezTo>
                      <a:pt x="126" y="81"/>
                      <a:pt x="110" y="65"/>
                      <a:pt x="110" y="45"/>
                    </a:cubicBezTo>
                    <a:cubicBezTo>
                      <a:pt x="110" y="26"/>
                      <a:pt x="126" y="10"/>
                      <a:pt x="145" y="10"/>
                    </a:cubicBezTo>
                    <a:cubicBezTo>
                      <a:pt x="165" y="10"/>
                      <a:pt x="181" y="26"/>
                      <a:pt x="181" y="45"/>
                    </a:cubicBezTo>
                    <a:cubicBezTo>
                      <a:pt x="181" y="65"/>
                      <a:pt x="165" y="81"/>
                      <a:pt x="145" y="81"/>
                    </a:cubicBezTo>
                    <a:close/>
                  </a:path>
                </a:pathLst>
              </a:cu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84" name="Google Shape;956;p12">
                <a:extLst>
                  <a:ext uri="{FF2B5EF4-FFF2-40B4-BE49-F238E27FC236}">
                    <a16:creationId xmlns:a16="http://schemas.microsoft.com/office/drawing/2014/main" id="{842DD22C-4BA4-159A-22E9-F8754AAB253A}"/>
                  </a:ext>
                </a:extLst>
              </p:cNvPr>
              <p:cNvSpPr/>
              <p:nvPr/>
            </p:nvSpPr>
            <p:spPr>
              <a:xfrm>
                <a:off x="1587" y="2992438"/>
                <a:ext cx="12600" cy="9600"/>
              </a:xfrm>
              <a:prstGeom prst="rect">
                <a:avLst/>
              </a:pr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85" name="Google Shape;957;p12">
                <a:extLst>
                  <a:ext uri="{FF2B5EF4-FFF2-40B4-BE49-F238E27FC236}">
                    <a16:creationId xmlns:a16="http://schemas.microsoft.com/office/drawing/2014/main" id="{3067A514-48DC-1E01-94F0-0FB8DBB1BE1D}"/>
                  </a:ext>
                </a:extLst>
              </p:cNvPr>
              <p:cNvSpPr/>
              <p:nvPr/>
            </p:nvSpPr>
            <p:spPr>
              <a:xfrm>
                <a:off x="15875" y="2992438"/>
                <a:ext cx="12600" cy="9600"/>
              </a:xfrm>
              <a:prstGeom prst="rect">
                <a:avLst/>
              </a:pr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86" name="Google Shape;958;p12">
                <a:extLst>
                  <a:ext uri="{FF2B5EF4-FFF2-40B4-BE49-F238E27FC236}">
                    <a16:creationId xmlns:a16="http://schemas.microsoft.com/office/drawing/2014/main" id="{CF50EF4F-8114-5945-6C3A-E29EBB7BB471}"/>
                  </a:ext>
                </a:extLst>
              </p:cNvPr>
              <p:cNvSpPr/>
              <p:nvPr/>
            </p:nvSpPr>
            <p:spPr>
              <a:xfrm>
                <a:off x="30162" y="2992438"/>
                <a:ext cx="12600" cy="9600"/>
              </a:xfrm>
              <a:prstGeom prst="rect">
                <a:avLst/>
              </a:pr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87" name="Google Shape;959;p12">
                <a:extLst>
                  <a:ext uri="{FF2B5EF4-FFF2-40B4-BE49-F238E27FC236}">
                    <a16:creationId xmlns:a16="http://schemas.microsoft.com/office/drawing/2014/main" id="{08AD72A8-20D9-8AF4-97F5-B79E6EF33D39}"/>
                  </a:ext>
                </a:extLst>
              </p:cNvPr>
              <p:cNvSpPr/>
              <p:nvPr/>
            </p:nvSpPr>
            <p:spPr>
              <a:xfrm>
                <a:off x="128587" y="2794001"/>
                <a:ext cx="34925" cy="60325"/>
              </a:xfrm>
              <a:custGeom>
                <a:avLst/>
                <a:gdLst/>
                <a:ahLst/>
                <a:cxnLst/>
                <a:rect l="l" t="t" r="r" b="b"/>
                <a:pathLst>
                  <a:path w="34" h="61" extrusionOk="0">
                    <a:moveTo>
                      <a:pt x="23" y="6"/>
                    </a:moveTo>
                    <a:cubicBezTo>
                      <a:pt x="23" y="0"/>
                      <a:pt x="23" y="0"/>
                      <a:pt x="23" y="0"/>
                    </a:cubicBezTo>
                    <a:cubicBezTo>
                      <a:pt x="12" y="0"/>
                      <a:pt x="12" y="0"/>
                      <a:pt x="12" y="0"/>
                    </a:cubicBezTo>
                    <a:cubicBezTo>
                      <a:pt x="12" y="6"/>
                      <a:pt x="12" y="6"/>
                      <a:pt x="12" y="6"/>
                    </a:cubicBezTo>
                    <a:cubicBezTo>
                      <a:pt x="5" y="8"/>
                      <a:pt x="0" y="14"/>
                      <a:pt x="0" y="21"/>
                    </a:cubicBezTo>
                    <a:cubicBezTo>
                      <a:pt x="0" y="28"/>
                      <a:pt x="6" y="36"/>
                      <a:pt x="17" y="36"/>
                    </a:cubicBezTo>
                    <a:cubicBezTo>
                      <a:pt x="19" y="36"/>
                      <a:pt x="24" y="36"/>
                      <a:pt x="24" y="40"/>
                    </a:cubicBezTo>
                    <a:cubicBezTo>
                      <a:pt x="24" y="43"/>
                      <a:pt x="21" y="45"/>
                      <a:pt x="17" y="45"/>
                    </a:cubicBezTo>
                    <a:cubicBezTo>
                      <a:pt x="14" y="45"/>
                      <a:pt x="11" y="43"/>
                      <a:pt x="11" y="40"/>
                    </a:cubicBezTo>
                    <a:cubicBezTo>
                      <a:pt x="11" y="38"/>
                      <a:pt x="11" y="38"/>
                      <a:pt x="11" y="38"/>
                    </a:cubicBezTo>
                    <a:cubicBezTo>
                      <a:pt x="0" y="38"/>
                      <a:pt x="0" y="38"/>
                      <a:pt x="0" y="38"/>
                    </a:cubicBezTo>
                    <a:cubicBezTo>
                      <a:pt x="0" y="40"/>
                      <a:pt x="0" y="40"/>
                      <a:pt x="0" y="40"/>
                    </a:cubicBezTo>
                    <a:cubicBezTo>
                      <a:pt x="0" y="47"/>
                      <a:pt x="5" y="53"/>
                      <a:pt x="12" y="55"/>
                    </a:cubicBezTo>
                    <a:cubicBezTo>
                      <a:pt x="12" y="61"/>
                      <a:pt x="12" y="61"/>
                      <a:pt x="12" y="61"/>
                    </a:cubicBezTo>
                    <a:cubicBezTo>
                      <a:pt x="23" y="61"/>
                      <a:pt x="23" y="61"/>
                      <a:pt x="23" y="61"/>
                    </a:cubicBezTo>
                    <a:cubicBezTo>
                      <a:pt x="23" y="55"/>
                      <a:pt x="23" y="55"/>
                      <a:pt x="23" y="55"/>
                    </a:cubicBezTo>
                    <a:cubicBezTo>
                      <a:pt x="29" y="53"/>
                      <a:pt x="34" y="47"/>
                      <a:pt x="34" y="40"/>
                    </a:cubicBezTo>
                    <a:cubicBezTo>
                      <a:pt x="34" y="31"/>
                      <a:pt x="27" y="25"/>
                      <a:pt x="17" y="25"/>
                    </a:cubicBezTo>
                    <a:cubicBezTo>
                      <a:pt x="14" y="25"/>
                      <a:pt x="11" y="24"/>
                      <a:pt x="11" y="21"/>
                    </a:cubicBezTo>
                    <a:cubicBezTo>
                      <a:pt x="11" y="18"/>
                      <a:pt x="14" y="16"/>
                      <a:pt x="17" y="16"/>
                    </a:cubicBezTo>
                    <a:cubicBezTo>
                      <a:pt x="21" y="16"/>
                      <a:pt x="24" y="18"/>
                      <a:pt x="24" y="21"/>
                    </a:cubicBezTo>
                    <a:cubicBezTo>
                      <a:pt x="24" y="23"/>
                      <a:pt x="24" y="23"/>
                      <a:pt x="24" y="23"/>
                    </a:cubicBezTo>
                    <a:cubicBezTo>
                      <a:pt x="34" y="23"/>
                      <a:pt x="34" y="23"/>
                      <a:pt x="34" y="23"/>
                    </a:cubicBezTo>
                    <a:cubicBezTo>
                      <a:pt x="34" y="21"/>
                      <a:pt x="34" y="21"/>
                      <a:pt x="34" y="21"/>
                    </a:cubicBezTo>
                    <a:cubicBezTo>
                      <a:pt x="34" y="14"/>
                      <a:pt x="29" y="8"/>
                      <a:pt x="23" y="6"/>
                    </a:cubicBezTo>
                    <a:close/>
                  </a:path>
                </a:pathLst>
              </a:cu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88" name="Google Shape;960;p12">
                <a:extLst>
                  <a:ext uri="{FF2B5EF4-FFF2-40B4-BE49-F238E27FC236}">
                    <a16:creationId xmlns:a16="http://schemas.microsoft.com/office/drawing/2014/main" id="{65B70BFC-85B4-F874-91C2-B31432201B4F}"/>
                  </a:ext>
                </a:extLst>
              </p:cNvPr>
              <p:cNvSpPr/>
              <p:nvPr/>
            </p:nvSpPr>
            <p:spPr>
              <a:xfrm>
                <a:off x="120650" y="2887663"/>
                <a:ext cx="44450" cy="31750"/>
              </a:xfrm>
              <a:custGeom>
                <a:avLst/>
                <a:gdLst/>
                <a:ahLst/>
                <a:cxnLst/>
                <a:rect l="l" t="t" r="r" b="b"/>
                <a:pathLst>
                  <a:path w="44" h="32" extrusionOk="0">
                    <a:moveTo>
                      <a:pt x="16" y="30"/>
                    </a:moveTo>
                    <a:cubicBezTo>
                      <a:pt x="19" y="31"/>
                      <a:pt x="22" y="32"/>
                      <a:pt x="25" y="32"/>
                    </a:cubicBezTo>
                    <a:cubicBezTo>
                      <a:pt x="32" y="32"/>
                      <a:pt x="38" y="29"/>
                      <a:pt x="40" y="29"/>
                    </a:cubicBezTo>
                    <a:cubicBezTo>
                      <a:pt x="44" y="27"/>
                      <a:pt x="44" y="27"/>
                      <a:pt x="44" y="27"/>
                    </a:cubicBezTo>
                    <a:cubicBezTo>
                      <a:pt x="42" y="22"/>
                      <a:pt x="42" y="22"/>
                      <a:pt x="42" y="22"/>
                    </a:cubicBezTo>
                    <a:cubicBezTo>
                      <a:pt x="42" y="21"/>
                      <a:pt x="38" y="9"/>
                      <a:pt x="27" y="5"/>
                    </a:cubicBezTo>
                    <a:cubicBezTo>
                      <a:pt x="17" y="0"/>
                      <a:pt x="5" y="6"/>
                      <a:pt x="4" y="6"/>
                    </a:cubicBezTo>
                    <a:cubicBezTo>
                      <a:pt x="0" y="8"/>
                      <a:pt x="0" y="8"/>
                      <a:pt x="0" y="8"/>
                    </a:cubicBezTo>
                    <a:cubicBezTo>
                      <a:pt x="1" y="12"/>
                      <a:pt x="1" y="12"/>
                      <a:pt x="1" y="12"/>
                    </a:cubicBezTo>
                    <a:cubicBezTo>
                      <a:pt x="2" y="14"/>
                      <a:pt x="6" y="26"/>
                      <a:pt x="16" y="30"/>
                    </a:cubicBezTo>
                    <a:close/>
                    <a:moveTo>
                      <a:pt x="23" y="14"/>
                    </a:moveTo>
                    <a:cubicBezTo>
                      <a:pt x="26" y="15"/>
                      <a:pt x="29" y="18"/>
                      <a:pt x="30" y="21"/>
                    </a:cubicBezTo>
                    <a:cubicBezTo>
                      <a:pt x="27" y="22"/>
                      <a:pt x="24" y="22"/>
                      <a:pt x="20" y="21"/>
                    </a:cubicBezTo>
                    <a:cubicBezTo>
                      <a:pt x="17" y="19"/>
                      <a:pt x="15" y="16"/>
                      <a:pt x="13" y="14"/>
                    </a:cubicBezTo>
                    <a:cubicBezTo>
                      <a:pt x="16" y="13"/>
                      <a:pt x="20" y="13"/>
                      <a:pt x="23" y="14"/>
                    </a:cubicBezTo>
                    <a:close/>
                  </a:path>
                </a:pathLst>
              </a:custGeom>
              <a:solidFill>
                <a:schemeClr val="lt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pic>
          <p:nvPicPr>
            <p:cNvPr id="89" name="Picture 2">
              <a:extLst>
                <a:ext uri="{FF2B5EF4-FFF2-40B4-BE49-F238E27FC236}">
                  <a16:creationId xmlns:a16="http://schemas.microsoft.com/office/drawing/2014/main" id="{18F702DC-CD68-17C9-4368-1F864B515B3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243435" y="5328622"/>
              <a:ext cx="671995" cy="164534"/>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7E66923D-5F8C-0F69-E8FB-94FA1F56D96E}"/>
                </a:ext>
              </a:extLst>
            </p:cNvPr>
            <p:cNvSpPr txBox="1"/>
            <p:nvPr/>
          </p:nvSpPr>
          <p:spPr>
            <a:xfrm>
              <a:off x="10441882" y="2897806"/>
              <a:ext cx="1695815"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Trade associations and industry groups</a:t>
              </a:r>
            </a:p>
          </p:txBody>
        </p:sp>
        <p:grpSp>
          <p:nvGrpSpPr>
            <p:cNvPr id="91" name="Google Shape;3925;p20">
              <a:extLst>
                <a:ext uri="{FF2B5EF4-FFF2-40B4-BE49-F238E27FC236}">
                  <a16:creationId xmlns:a16="http://schemas.microsoft.com/office/drawing/2014/main" id="{F748E091-F98D-96ED-E43B-137ED56388A6}"/>
                </a:ext>
              </a:extLst>
            </p:cNvPr>
            <p:cNvGrpSpPr/>
            <p:nvPr/>
          </p:nvGrpSpPr>
          <p:grpSpPr>
            <a:xfrm>
              <a:off x="7332630" y="5257432"/>
              <a:ext cx="439220" cy="386434"/>
              <a:chOff x="3452812" y="1973263"/>
              <a:chExt cx="260350" cy="238126"/>
            </a:xfrm>
          </p:grpSpPr>
          <p:sp>
            <p:nvSpPr>
              <p:cNvPr id="92" name="Google Shape;3926;p20">
                <a:extLst>
                  <a:ext uri="{FF2B5EF4-FFF2-40B4-BE49-F238E27FC236}">
                    <a16:creationId xmlns:a16="http://schemas.microsoft.com/office/drawing/2014/main" id="{F604CAFD-F55D-21F7-4E7D-D25D47DA23CB}"/>
                  </a:ext>
                </a:extLst>
              </p:cNvPr>
              <p:cNvSpPr/>
              <p:nvPr/>
            </p:nvSpPr>
            <p:spPr>
              <a:xfrm>
                <a:off x="3479800" y="1990726"/>
                <a:ext cx="49213" cy="52388"/>
              </a:xfrm>
              <a:custGeom>
                <a:avLst/>
                <a:gdLst/>
                <a:ahLst/>
                <a:cxnLst/>
                <a:rect l="l" t="t" r="r" b="b"/>
                <a:pathLst>
                  <a:path w="49" h="53" extrusionOk="0">
                    <a:moveTo>
                      <a:pt x="25" y="0"/>
                    </a:moveTo>
                    <a:cubicBezTo>
                      <a:pt x="11" y="0"/>
                      <a:pt x="0" y="11"/>
                      <a:pt x="0" y="24"/>
                    </a:cubicBezTo>
                    <a:cubicBezTo>
                      <a:pt x="0" y="28"/>
                      <a:pt x="0" y="28"/>
                      <a:pt x="0" y="28"/>
                    </a:cubicBezTo>
                    <a:cubicBezTo>
                      <a:pt x="0" y="42"/>
                      <a:pt x="11" y="53"/>
                      <a:pt x="25" y="53"/>
                    </a:cubicBezTo>
                    <a:cubicBezTo>
                      <a:pt x="38" y="53"/>
                      <a:pt x="49" y="42"/>
                      <a:pt x="49" y="28"/>
                    </a:cubicBezTo>
                    <a:cubicBezTo>
                      <a:pt x="49" y="24"/>
                      <a:pt x="49" y="24"/>
                      <a:pt x="49" y="24"/>
                    </a:cubicBezTo>
                    <a:cubicBezTo>
                      <a:pt x="49" y="11"/>
                      <a:pt x="38" y="0"/>
                      <a:pt x="25" y="0"/>
                    </a:cubicBezTo>
                    <a:close/>
                    <a:moveTo>
                      <a:pt x="40" y="24"/>
                    </a:moveTo>
                    <a:cubicBezTo>
                      <a:pt x="40" y="28"/>
                      <a:pt x="40" y="28"/>
                      <a:pt x="40" y="28"/>
                    </a:cubicBezTo>
                    <a:cubicBezTo>
                      <a:pt x="40" y="37"/>
                      <a:pt x="33" y="43"/>
                      <a:pt x="25" y="43"/>
                    </a:cubicBezTo>
                    <a:cubicBezTo>
                      <a:pt x="16" y="43"/>
                      <a:pt x="9" y="37"/>
                      <a:pt x="9" y="28"/>
                    </a:cubicBezTo>
                    <a:cubicBezTo>
                      <a:pt x="9" y="24"/>
                      <a:pt x="9" y="24"/>
                      <a:pt x="9" y="24"/>
                    </a:cubicBezTo>
                    <a:cubicBezTo>
                      <a:pt x="9" y="16"/>
                      <a:pt x="16" y="9"/>
                      <a:pt x="25" y="9"/>
                    </a:cubicBezTo>
                    <a:cubicBezTo>
                      <a:pt x="29" y="9"/>
                      <a:pt x="32" y="11"/>
                      <a:pt x="35" y="14"/>
                    </a:cubicBezTo>
                    <a:cubicBezTo>
                      <a:pt x="38" y="16"/>
                      <a:pt x="40" y="20"/>
                      <a:pt x="40" y="24"/>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93" name="Google Shape;3927;p20">
                <a:extLst>
                  <a:ext uri="{FF2B5EF4-FFF2-40B4-BE49-F238E27FC236}">
                    <a16:creationId xmlns:a16="http://schemas.microsoft.com/office/drawing/2014/main" id="{3C850068-03FB-A004-7DD7-1D1B07F88CC8}"/>
                  </a:ext>
                </a:extLst>
              </p:cNvPr>
              <p:cNvSpPr/>
              <p:nvPr/>
            </p:nvSpPr>
            <p:spPr>
              <a:xfrm>
                <a:off x="3636962" y="1990726"/>
                <a:ext cx="49213" cy="52388"/>
              </a:xfrm>
              <a:custGeom>
                <a:avLst/>
                <a:gdLst/>
                <a:ahLst/>
                <a:cxnLst/>
                <a:rect l="l" t="t" r="r" b="b"/>
                <a:pathLst>
                  <a:path w="49" h="53" extrusionOk="0">
                    <a:moveTo>
                      <a:pt x="24" y="0"/>
                    </a:moveTo>
                    <a:cubicBezTo>
                      <a:pt x="11" y="0"/>
                      <a:pt x="0" y="11"/>
                      <a:pt x="0" y="24"/>
                    </a:cubicBezTo>
                    <a:cubicBezTo>
                      <a:pt x="0" y="28"/>
                      <a:pt x="0" y="28"/>
                      <a:pt x="0" y="28"/>
                    </a:cubicBezTo>
                    <a:cubicBezTo>
                      <a:pt x="0" y="42"/>
                      <a:pt x="11" y="53"/>
                      <a:pt x="24" y="53"/>
                    </a:cubicBezTo>
                    <a:cubicBezTo>
                      <a:pt x="38" y="53"/>
                      <a:pt x="49" y="42"/>
                      <a:pt x="49" y="28"/>
                    </a:cubicBezTo>
                    <a:cubicBezTo>
                      <a:pt x="49" y="24"/>
                      <a:pt x="49" y="24"/>
                      <a:pt x="49" y="24"/>
                    </a:cubicBezTo>
                    <a:cubicBezTo>
                      <a:pt x="49" y="11"/>
                      <a:pt x="38" y="0"/>
                      <a:pt x="24" y="0"/>
                    </a:cubicBezTo>
                    <a:close/>
                    <a:moveTo>
                      <a:pt x="39" y="24"/>
                    </a:moveTo>
                    <a:cubicBezTo>
                      <a:pt x="39" y="28"/>
                      <a:pt x="39" y="28"/>
                      <a:pt x="39" y="28"/>
                    </a:cubicBezTo>
                    <a:cubicBezTo>
                      <a:pt x="39" y="37"/>
                      <a:pt x="33" y="43"/>
                      <a:pt x="24" y="43"/>
                    </a:cubicBezTo>
                    <a:cubicBezTo>
                      <a:pt x="16" y="43"/>
                      <a:pt x="9" y="37"/>
                      <a:pt x="9" y="28"/>
                    </a:cubicBezTo>
                    <a:cubicBezTo>
                      <a:pt x="9" y="24"/>
                      <a:pt x="9" y="24"/>
                      <a:pt x="9" y="24"/>
                    </a:cubicBezTo>
                    <a:cubicBezTo>
                      <a:pt x="9" y="20"/>
                      <a:pt x="11" y="16"/>
                      <a:pt x="14" y="14"/>
                    </a:cubicBezTo>
                    <a:cubicBezTo>
                      <a:pt x="17" y="11"/>
                      <a:pt x="20" y="9"/>
                      <a:pt x="24" y="9"/>
                    </a:cubicBezTo>
                    <a:cubicBezTo>
                      <a:pt x="33" y="9"/>
                      <a:pt x="39" y="16"/>
                      <a:pt x="39" y="24"/>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94" name="Google Shape;3928;p20">
                <a:extLst>
                  <a:ext uri="{FF2B5EF4-FFF2-40B4-BE49-F238E27FC236}">
                    <a16:creationId xmlns:a16="http://schemas.microsoft.com/office/drawing/2014/main" id="{BFCD9B40-FEEA-9D47-C80D-584DAE726FB0}"/>
                  </a:ext>
                </a:extLst>
              </p:cNvPr>
              <p:cNvSpPr/>
              <p:nvPr/>
            </p:nvSpPr>
            <p:spPr>
              <a:xfrm>
                <a:off x="3559175" y="1973263"/>
                <a:ext cx="49213" cy="52388"/>
              </a:xfrm>
              <a:custGeom>
                <a:avLst/>
                <a:gdLst/>
                <a:ahLst/>
                <a:cxnLst/>
                <a:rect l="l" t="t" r="r" b="b"/>
                <a:pathLst>
                  <a:path w="49" h="53" extrusionOk="0">
                    <a:moveTo>
                      <a:pt x="24" y="53"/>
                    </a:moveTo>
                    <a:cubicBezTo>
                      <a:pt x="38" y="53"/>
                      <a:pt x="49" y="42"/>
                      <a:pt x="49" y="28"/>
                    </a:cubicBezTo>
                    <a:cubicBezTo>
                      <a:pt x="49" y="24"/>
                      <a:pt x="49" y="24"/>
                      <a:pt x="49" y="24"/>
                    </a:cubicBezTo>
                    <a:cubicBezTo>
                      <a:pt x="49" y="11"/>
                      <a:pt x="38" y="0"/>
                      <a:pt x="24" y="0"/>
                    </a:cubicBezTo>
                    <a:cubicBezTo>
                      <a:pt x="11" y="0"/>
                      <a:pt x="0" y="11"/>
                      <a:pt x="0" y="24"/>
                    </a:cubicBezTo>
                    <a:cubicBezTo>
                      <a:pt x="0" y="28"/>
                      <a:pt x="0" y="28"/>
                      <a:pt x="0" y="28"/>
                    </a:cubicBezTo>
                    <a:cubicBezTo>
                      <a:pt x="0" y="35"/>
                      <a:pt x="3" y="41"/>
                      <a:pt x="7" y="45"/>
                    </a:cubicBezTo>
                    <a:cubicBezTo>
                      <a:pt x="12" y="50"/>
                      <a:pt x="18" y="53"/>
                      <a:pt x="24" y="53"/>
                    </a:cubicBezTo>
                    <a:close/>
                    <a:moveTo>
                      <a:pt x="9" y="28"/>
                    </a:moveTo>
                    <a:cubicBezTo>
                      <a:pt x="9" y="24"/>
                      <a:pt x="9" y="24"/>
                      <a:pt x="9" y="24"/>
                    </a:cubicBezTo>
                    <a:cubicBezTo>
                      <a:pt x="9" y="16"/>
                      <a:pt x="16" y="9"/>
                      <a:pt x="24" y="9"/>
                    </a:cubicBezTo>
                    <a:cubicBezTo>
                      <a:pt x="33" y="9"/>
                      <a:pt x="40" y="16"/>
                      <a:pt x="40" y="24"/>
                    </a:cubicBezTo>
                    <a:cubicBezTo>
                      <a:pt x="40" y="28"/>
                      <a:pt x="40" y="28"/>
                      <a:pt x="40" y="28"/>
                    </a:cubicBezTo>
                    <a:cubicBezTo>
                      <a:pt x="40" y="37"/>
                      <a:pt x="33" y="43"/>
                      <a:pt x="24" y="43"/>
                    </a:cubicBezTo>
                    <a:cubicBezTo>
                      <a:pt x="20" y="43"/>
                      <a:pt x="17" y="42"/>
                      <a:pt x="14" y="39"/>
                    </a:cubicBezTo>
                    <a:cubicBezTo>
                      <a:pt x="11" y="36"/>
                      <a:pt x="9" y="32"/>
                      <a:pt x="9" y="28"/>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95" name="Google Shape;3929;p20">
                <a:extLst>
                  <a:ext uri="{FF2B5EF4-FFF2-40B4-BE49-F238E27FC236}">
                    <a16:creationId xmlns:a16="http://schemas.microsoft.com/office/drawing/2014/main" id="{F87D5C25-31E6-FD1A-D533-7DF8BBEFCF86}"/>
                  </a:ext>
                </a:extLst>
              </p:cNvPr>
              <p:cNvSpPr/>
              <p:nvPr/>
            </p:nvSpPr>
            <p:spPr>
              <a:xfrm>
                <a:off x="3452812" y="2049463"/>
                <a:ext cx="73025" cy="130175"/>
              </a:xfrm>
              <a:custGeom>
                <a:avLst/>
                <a:gdLst/>
                <a:ahLst/>
                <a:cxnLst/>
                <a:rect l="l" t="t" r="r" b="b"/>
                <a:pathLst>
                  <a:path w="72" h="129" extrusionOk="0">
                    <a:moveTo>
                      <a:pt x="9" y="85"/>
                    </a:moveTo>
                    <a:cubicBezTo>
                      <a:pt x="9" y="0"/>
                      <a:pt x="9" y="0"/>
                      <a:pt x="9" y="0"/>
                    </a:cubicBezTo>
                    <a:cubicBezTo>
                      <a:pt x="0" y="0"/>
                      <a:pt x="0" y="0"/>
                      <a:pt x="0" y="0"/>
                    </a:cubicBezTo>
                    <a:cubicBezTo>
                      <a:pt x="0" y="85"/>
                      <a:pt x="0" y="85"/>
                      <a:pt x="0" y="85"/>
                    </a:cubicBezTo>
                    <a:cubicBezTo>
                      <a:pt x="0" y="110"/>
                      <a:pt x="20" y="129"/>
                      <a:pt x="44" y="129"/>
                    </a:cubicBezTo>
                    <a:cubicBezTo>
                      <a:pt x="72" y="129"/>
                      <a:pt x="72" y="129"/>
                      <a:pt x="72" y="129"/>
                    </a:cubicBezTo>
                    <a:cubicBezTo>
                      <a:pt x="72" y="120"/>
                      <a:pt x="72" y="120"/>
                      <a:pt x="72" y="120"/>
                    </a:cubicBezTo>
                    <a:cubicBezTo>
                      <a:pt x="44" y="120"/>
                      <a:pt x="44" y="120"/>
                      <a:pt x="44" y="120"/>
                    </a:cubicBezTo>
                    <a:cubicBezTo>
                      <a:pt x="25" y="120"/>
                      <a:pt x="9" y="105"/>
                      <a:pt x="9" y="85"/>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96" name="Google Shape;3930;p20">
                <a:extLst>
                  <a:ext uri="{FF2B5EF4-FFF2-40B4-BE49-F238E27FC236}">
                    <a16:creationId xmlns:a16="http://schemas.microsoft.com/office/drawing/2014/main" id="{C5340CDE-F2C1-CB5A-32F8-65E6A1F6D7EC}"/>
                  </a:ext>
                </a:extLst>
              </p:cNvPr>
              <p:cNvSpPr/>
              <p:nvPr/>
            </p:nvSpPr>
            <p:spPr>
              <a:xfrm>
                <a:off x="3470275" y="2025651"/>
                <a:ext cx="225425" cy="185738"/>
              </a:xfrm>
              <a:custGeom>
                <a:avLst/>
                <a:gdLst/>
                <a:ahLst/>
                <a:cxnLst/>
                <a:rect l="l" t="t" r="r" b="b"/>
                <a:pathLst>
                  <a:path w="225" h="186" extrusionOk="0">
                    <a:moveTo>
                      <a:pt x="225" y="106"/>
                    </a:moveTo>
                    <a:cubicBezTo>
                      <a:pt x="225" y="43"/>
                      <a:pt x="225" y="43"/>
                      <a:pt x="225" y="43"/>
                    </a:cubicBezTo>
                    <a:cubicBezTo>
                      <a:pt x="225" y="31"/>
                      <a:pt x="215" y="21"/>
                      <a:pt x="203" y="21"/>
                    </a:cubicBezTo>
                    <a:cubicBezTo>
                      <a:pt x="195" y="21"/>
                      <a:pt x="195" y="21"/>
                      <a:pt x="195" y="21"/>
                    </a:cubicBezTo>
                    <a:cubicBezTo>
                      <a:pt x="188" y="21"/>
                      <a:pt x="183" y="23"/>
                      <a:pt x="178" y="28"/>
                    </a:cubicBezTo>
                    <a:cubicBezTo>
                      <a:pt x="158" y="48"/>
                      <a:pt x="158" y="48"/>
                      <a:pt x="158" y="48"/>
                    </a:cubicBezTo>
                    <a:cubicBezTo>
                      <a:pt x="157" y="48"/>
                      <a:pt x="157" y="49"/>
                      <a:pt x="157" y="49"/>
                    </a:cubicBezTo>
                    <a:cubicBezTo>
                      <a:pt x="157" y="28"/>
                      <a:pt x="157" y="28"/>
                      <a:pt x="157" y="28"/>
                    </a:cubicBezTo>
                    <a:cubicBezTo>
                      <a:pt x="157" y="18"/>
                      <a:pt x="150" y="9"/>
                      <a:pt x="141" y="6"/>
                    </a:cubicBezTo>
                    <a:cubicBezTo>
                      <a:pt x="123" y="0"/>
                      <a:pt x="102" y="0"/>
                      <a:pt x="84" y="6"/>
                    </a:cubicBezTo>
                    <a:cubicBezTo>
                      <a:pt x="74" y="9"/>
                      <a:pt x="68" y="18"/>
                      <a:pt x="68" y="28"/>
                    </a:cubicBezTo>
                    <a:cubicBezTo>
                      <a:pt x="68" y="49"/>
                      <a:pt x="68" y="49"/>
                      <a:pt x="68" y="49"/>
                    </a:cubicBezTo>
                    <a:cubicBezTo>
                      <a:pt x="68" y="49"/>
                      <a:pt x="67" y="48"/>
                      <a:pt x="67" y="48"/>
                    </a:cubicBezTo>
                    <a:cubicBezTo>
                      <a:pt x="47" y="28"/>
                      <a:pt x="47" y="28"/>
                      <a:pt x="47" y="28"/>
                    </a:cubicBezTo>
                    <a:cubicBezTo>
                      <a:pt x="42" y="23"/>
                      <a:pt x="36" y="21"/>
                      <a:pt x="30" y="21"/>
                    </a:cubicBezTo>
                    <a:cubicBezTo>
                      <a:pt x="22" y="21"/>
                      <a:pt x="22" y="21"/>
                      <a:pt x="22" y="21"/>
                    </a:cubicBezTo>
                    <a:cubicBezTo>
                      <a:pt x="10" y="21"/>
                      <a:pt x="0" y="31"/>
                      <a:pt x="0" y="43"/>
                    </a:cubicBezTo>
                    <a:cubicBezTo>
                      <a:pt x="0" y="106"/>
                      <a:pt x="0" y="106"/>
                      <a:pt x="0" y="106"/>
                    </a:cubicBezTo>
                    <a:cubicBezTo>
                      <a:pt x="0" y="123"/>
                      <a:pt x="13" y="137"/>
                      <a:pt x="30" y="137"/>
                    </a:cubicBezTo>
                    <a:cubicBezTo>
                      <a:pt x="55" y="137"/>
                      <a:pt x="55" y="137"/>
                      <a:pt x="55" y="137"/>
                    </a:cubicBezTo>
                    <a:cubicBezTo>
                      <a:pt x="57" y="137"/>
                      <a:pt x="59" y="138"/>
                      <a:pt x="59" y="140"/>
                    </a:cubicBezTo>
                    <a:cubicBezTo>
                      <a:pt x="76" y="186"/>
                      <a:pt x="76" y="186"/>
                      <a:pt x="76" y="186"/>
                    </a:cubicBezTo>
                    <a:cubicBezTo>
                      <a:pt x="84" y="183"/>
                      <a:pt x="84" y="183"/>
                      <a:pt x="84" y="183"/>
                    </a:cubicBezTo>
                    <a:cubicBezTo>
                      <a:pt x="68" y="136"/>
                      <a:pt x="68" y="136"/>
                      <a:pt x="68" y="136"/>
                    </a:cubicBezTo>
                    <a:cubicBezTo>
                      <a:pt x="66" y="131"/>
                      <a:pt x="61" y="127"/>
                      <a:pt x="55" y="127"/>
                    </a:cubicBezTo>
                    <a:cubicBezTo>
                      <a:pt x="30" y="127"/>
                      <a:pt x="30" y="127"/>
                      <a:pt x="30" y="127"/>
                    </a:cubicBezTo>
                    <a:cubicBezTo>
                      <a:pt x="18" y="127"/>
                      <a:pt x="9" y="118"/>
                      <a:pt x="9" y="106"/>
                    </a:cubicBezTo>
                    <a:cubicBezTo>
                      <a:pt x="9" y="43"/>
                      <a:pt x="9" y="43"/>
                      <a:pt x="9" y="43"/>
                    </a:cubicBezTo>
                    <a:cubicBezTo>
                      <a:pt x="9" y="36"/>
                      <a:pt x="15" y="30"/>
                      <a:pt x="22" y="30"/>
                    </a:cubicBezTo>
                    <a:cubicBezTo>
                      <a:pt x="30" y="30"/>
                      <a:pt x="30" y="30"/>
                      <a:pt x="30" y="30"/>
                    </a:cubicBezTo>
                    <a:cubicBezTo>
                      <a:pt x="34" y="30"/>
                      <a:pt x="37" y="31"/>
                      <a:pt x="40" y="34"/>
                    </a:cubicBezTo>
                    <a:cubicBezTo>
                      <a:pt x="61" y="55"/>
                      <a:pt x="61" y="55"/>
                      <a:pt x="61" y="55"/>
                    </a:cubicBezTo>
                    <a:cubicBezTo>
                      <a:pt x="64" y="58"/>
                      <a:pt x="69" y="60"/>
                      <a:pt x="75" y="60"/>
                    </a:cubicBezTo>
                    <a:cubicBezTo>
                      <a:pt x="90" y="60"/>
                      <a:pt x="90" y="60"/>
                      <a:pt x="90" y="60"/>
                    </a:cubicBezTo>
                    <a:cubicBezTo>
                      <a:pt x="93" y="60"/>
                      <a:pt x="96" y="63"/>
                      <a:pt x="96" y="67"/>
                    </a:cubicBezTo>
                    <a:cubicBezTo>
                      <a:pt x="96" y="70"/>
                      <a:pt x="93" y="73"/>
                      <a:pt x="90" y="73"/>
                    </a:cubicBezTo>
                    <a:cubicBezTo>
                      <a:pt x="54" y="73"/>
                      <a:pt x="54" y="73"/>
                      <a:pt x="54" y="73"/>
                    </a:cubicBezTo>
                    <a:cubicBezTo>
                      <a:pt x="51" y="73"/>
                      <a:pt x="49" y="72"/>
                      <a:pt x="47" y="70"/>
                    </a:cubicBezTo>
                    <a:cubicBezTo>
                      <a:pt x="29" y="52"/>
                      <a:pt x="29" y="52"/>
                      <a:pt x="29" y="52"/>
                    </a:cubicBezTo>
                    <a:cubicBezTo>
                      <a:pt x="22" y="58"/>
                      <a:pt x="22" y="58"/>
                      <a:pt x="22" y="58"/>
                    </a:cubicBezTo>
                    <a:cubicBezTo>
                      <a:pt x="36" y="72"/>
                      <a:pt x="36" y="72"/>
                      <a:pt x="36" y="72"/>
                    </a:cubicBezTo>
                    <a:cubicBezTo>
                      <a:pt x="36" y="92"/>
                      <a:pt x="36" y="92"/>
                      <a:pt x="36" y="92"/>
                    </a:cubicBezTo>
                    <a:cubicBezTo>
                      <a:pt x="36" y="98"/>
                      <a:pt x="41" y="103"/>
                      <a:pt x="48" y="103"/>
                    </a:cubicBezTo>
                    <a:cubicBezTo>
                      <a:pt x="68" y="103"/>
                      <a:pt x="68" y="103"/>
                      <a:pt x="68" y="103"/>
                    </a:cubicBezTo>
                    <a:cubicBezTo>
                      <a:pt x="76" y="103"/>
                      <a:pt x="83" y="109"/>
                      <a:pt x="84" y="117"/>
                    </a:cubicBezTo>
                    <a:cubicBezTo>
                      <a:pt x="99" y="186"/>
                      <a:pt x="99" y="186"/>
                      <a:pt x="99" y="186"/>
                    </a:cubicBezTo>
                    <a:cubicBezTo>
                      <a:pt x="108" y="184"/>
                      <a:pt x="108" y="184"/>
                      <a:pt x="108" y="184"/>
                    </a:cubicBezTo>
                    <a:cubicBezTo>
                      <a:pt x="93" y="115"/>
                      <a:pt x="93" y="115"/>
                      <a:pt x="93" y="115"/>
                    </a:cubicBezTo>
                    <a:cubicBezTo>
                      <a:pt x="91" y="103"/>
                      <a:pt x="80" y="94"/>
                      <a:pt x="68" y="94"/>
                    </a:cubicBezTo>
                    <a:cubicBezTo>
                      <a:pt x="48" y="94"/>
                      <a:pt x="48" y="94"/>
                      <a:pt x="48" y="94"/>
                    </a:cubicBezTo>
                    <a:cubicBezTo>
                      <a:pt x="46" y="94"/>
                      <a:pt x="46" y="93"/>
                      <a:pt x="46" y="92"/>
                    </a:cubicBezTo>
                    <a:cubicBezTo>
                      <a:pt x="46" y="80"/>
                      <a:pt x="46" y="80"/>
                      <a:pt x="46" y="80"/>
                    </a:cubicBezTo>
                    <a:cubicBezTo>
                      <a:pt x="48" y="81"/>
                      <a:pt x="51" y="82"/>
                      <a:pt x="54" y="82"/>
                    </a:cubicBezTo>
                    <a:cubicBezTo>
                      <a:pt x="90" y="82"/>
                      <a:pt x="90" y="82"/>
                      <a:pt x="90" y="82"/>
                    </a:cubicBezTo>
                    <a:cubicBezTo>
                      <a:pt x="98" y="82"/>
                      <a:pt x="105" y="75"/>
                      <a:pt x="105" y="67"/>
                    </a:cubicBezTo>
                    <a:cubicBezTo>
                      <a:pt x="105" y="60"/>
                      <a:pt x="101" y="55"/>
                      <a:pt x="95" y="52"/>
                    </a:cubicBezTo>
                    <a:cubicBezTo>
                      <a:pt x="95" y="36"/>
                      <a:pt x="95" y="36"/>
                      <a:pt x="95" y="36"/>
                    </a:cubicBezTo>
                    <a:cubicBezTo>
                      <a:pt x="86" y="36"/>
                      <a:pt x="86" y="36"/>
                      <a:pt x="86" y="36"/>
                    </a:cubicBezTo>
                    <a:cubicBezTo>
                      <a:pt x="86" y="51"/>
                      <a:pt x="86" y="51"/>
                      <a:pt x="86" y="51"/>
                    </a:cubicBezTo>
                    <a:cubicBezTo>
                      <a:pt x="77" y="51"/>
                      <a:pt x="77" y="51"/>
                      <a:pt x="77" y="51"/>
                    </a:cubicBezTo>
                    <a:cubicBezTo>
                      <a:pt x="77" y="28"/>
                      <a:pt x="77" y="28"/>
                      <a:pt x="77" y="28"/>
                    </a:cubicBezTo>
                    <a:cubicBezTo>
                      <a:pt x="77" y="22"/>
                      <a:pt x="81" y="17"/>
                      <a:pt x="87" y="15"/>
                    </a:cubicBezTo>
                    <a:cubicBezTo>
                      <a:pt x="103" y="10"/>
                      <a:pt x="122" y="10"/>
                      <a:pt x="138" y="15"/>
                    </a:cubicBezTo>
                    <a:cubicBezTo>
                      <a:pt x="144" y="17"/>
                      <a:pt x="148" y="22"/>
                      <a:pt x="148" y="28"/>
                    </a:cubicBezTo>
                    <a:cubicBezTo>
                      <a:pt x="148" y="51"/>
                      <a:pt x="148" y="51"/>
                      <a:pt x="148" y="51"/>
                    </a:cubicBezTo>
                    <a:cubicBezTo>
                      <a:pt x="139" y="51"/>
                      <a:pt x="139" y="51"/>
                      <a:pt x="139" y="51"/>
                    </a:cubicBezTo>
                    <a:cubicBezTo>
                      <a:pt x="139" y="36"/>
                      <a:pt x="139" y="36"/>
                      <a:pt x="139" y="36"/>
                    </a:cubicBezTo>
                    <a:cubicBezTo>
                      <a:pt x="129" y="36"/>
                      <a:pt x="129" y="36"/>
                      <a:pt x="129" y="36"/>
                    </a:cubicBezTo>
                    <a:cubicBezTo>
                      <a:pt x="129" y="52"/>
                      <a:pt x="129" y="52"/>
                      <a:pt x="129" y="52"/>
                    </a:cubicBezTo>
                    <a:cubicBezTo>
                      <a:pt x="124" y="55"/>
                      <a:pt x="120" y="60"/>
                      <a:pt x="120" y="67"/>
                    </a:cubicBezTo>
                    <a:cubicBezTo>
                      <a:pt x="120" y="75"/>
                      <a:pt x="127" y="82"/>
                      <a:pt x="135" y="82"/>
                    </a:cubicBezTo>
                    <a:cubicBezTo>
                      <a:pt x="171" y="82"/>
                      <a:pt x="171" y="82"/>
                      <a:pt x="171" y="82"/>
                    </a:cubicBezTo>
                    <a:cubicBezTo>
                      <a:pt x="174" y="82"/>
                      <a:pt x="177" y="81"/>
                      <a:pt x="179" y="80"/>
                    </a:cubicBezTo>
                    <a:cubicBezTo>
                      <a:pt x="179" y="92"/>
                      <a:pt x="179" y="92"/>
                      <a:pt x="179" y="92"/>
                    </a:cubicBezTo>
                    <a:cubicBezTo>
                      <a:pt x="179" y="93"/>
                      <a:pt x="178" y="94"/>
                      <a:pt x="177" y="94"/>
                    </a:cubicBezTo>
                    <a:cubicBezTo>
                      <a:pt x="157" y="94"/>
                      <a:pt x="157" y="94"/>
                      <a:pt x="157" y="94"/>
                    </a:cubicBezTo>
                    <a:cubicBezTo>
                      <a:pt x="145" y="94"/>
                      <a:pt x="134" y="103"/>
                      <a:pt x="132" y="115"/>
                    </a:cubicBezTo>
                    <a:cubicBezTo>
                      <a:pt x="117" y="184"/>
                      <a:pt x="117" y="184"/>
                      <a:pt x="117" y="184"/>
                    </a:cubicBezTo>
                    <a:cubicBezTo>
                      <a:pt x="126" y="186"/>
                      <a:pt x="126" y="186"/>
                      <a:pt x="126" y="186"/>
                    </a:cubicBezTo>
                    <a:cubicBezTo>
                      <a:pt x="141" y="117"/>
                      <a:pt x="141" y="117"/>
                      <a:pt x="141" y="117"/>
                    </a:cubicBezTo>
                    <a:cubicBezTo>
                      <a:pt x="142" y="109"/>
                      <a:pt x="149" y="103"/>
                      <a:pt x="157" y="103"/>
                    </a:cubicBezTo>
                    <a:cubicBezTo>
                      <a:pt x="177" y="103"/>
                      <a:pt x="177" y="103"/>
                      <a:pt x="177" y="103"/>
                    </a:cubicBezTo>
                    <a:cubicBezTo>
                      <a:pt x="184" y="103"/>
                      <a:pt x="189" y="98"/>
                      <a:pt x="189" y="92"/>
                    </a:cubicBezTo>
                    <a:cubicBezTo>
                      <a:pt x="189" y="72"/>
                      <a:pt x="189" y="72"/>
                      <a:pt x="189" y="72"/>
                    </a:cubicBezTo>
                    <a:cubicBezTo>
                      <a:pt x="203" y="58"/>
                      <a:pt x="203" y="58"/>
                      <a:pt x="203" y="58"/>
                    </a:cubicBezTo>
                    <a:cubicBezTo>
                      <a:pt x="196" y="52"/>
                      <a:pt x="196" y="52"/>
                      <a:pt x="196" y="52"/>
                    </a:cubicBezTo>
                    <a:cubicBezTo>
                      <a:pt x="178" y="70"/>
                      <a:pt x="178" y="70"/>
                      <a:pt x="178" y="70"/>
                    </a:cubicBezTo>
                    <a:cubicBezTo>
                      <a:pt x="176" y="72"/>
                      <a:pt x="174" y="73"/>
                      <a:pt x="171" y="73"/>
                    </a:cubicBezTo>
                    <a:cubicBezTo>
                      <a:pt x="135" y="73"/>
                      <a:pt x="135" y="73"/>
                      <a:pt x="135" y="73"/>
                    </a:cubicBezTo>
                    <a:cubicBezTo>
                      <a:pt x="132" y="73"/>
                      <a:pt x="129" y="70"/>
                      <a:pt x="129" y="67"/>
                    </a:cubicBezTo>
                    <a:cubicBezTo>
                      <a:pt x="129" y="63"/>
                      <a:pt x="132" y="60"/>
                      <a:pt x="135" y="60"/>
                    </a:cubicBezTo>
                    <a:cubicBezTo>
                      <a:pt x="150" y="60"/>
                      <a:pt x="150" y="60"/>
                      <a:pt x="150" y="60"/>
                    </a:cubicBezTo>
                    <a:cubicBezTo>
                      <a:pt x="156" y="60"/>
                      <a:pt x="161" y="58"/>
                      <a:pt x="164" y="55"/>
                    </a:cubicBezTo>
                    <a:cubicBezTo>
                      <a:pt x="185" y="34"/>
                      <a:pt x="185" y="34"/>
                      <a:pt x="185" y="34"/>
                    </a:cubicBezTo>
                    <a:cubicBezTo>
                      <a:pt x="187" y="31"/>
                      <a:pt x="191" y="30"/>
                      <a:pt x="195" y="30"/>
                    </a:cubicBezTo>
                    <a:cubicBezTo>
                      <a:pt x="203" y="30"/>
                      <a:pt x="203" y="30"/>
                      <a:pt x="203" y="30"/>
                    </a:cubicBezTo>
                    <a:cubicBezTo>
                      <a:pt x="210" y="30"/>
                      <a:pt x="216" y="36"/>
                      <a:pt x="216" y="43"/>
                    </a:cubicBezTo>
                    <a:cubicBezTo>
                      <a:pt x="216" y="106"/>
                      <a:pt x="216" y="106"/>
                      <a:pt x="216" y="106"/>
                    </a:cubicBezTo>
                    <a:cubicBezTo>
                      <a:pt x="216" y="118"/>
                      <a:pt x="206" y="127"/>
                      <a:pt x="195" y="127"/>
                    </a:cubicBezTo>
                    <a:cubicBezTo>
                      <a:pt x="170" y="127"/>
                      <a:pt x="170" y="127"/>
                      <a:pt x="170" y="127"/>
                    </a:cubicBezTo>
                    <a:cubicBezTo>
                      <a:pt x="164" y="127"/>
                      <a:pt x="159" y="131"/>
                      <a:pt x="157" y="136"/>
                    </a:cubicBezTo>
                    <a:cubicBezTo>
                      <a:pt x="141" y="183"/>
                      <a:pt x="141" y="183"/>
                      <a:pt x="141" y="183"/>
                    </a:cubicBezTo>
                    <a:cubicBezTo>
                      <a:pt x="149" y="186"/>
                      <a:pt x="149" y="186"/>
                      <a:pt x="149" y="186"/>
                    </a:cubicBezTo>
                    <a:cubicBezTo>
                      <a:pt x="166" y="140"/>
                      <a:pt x="166" y="140"/>
                      <a:pt x="166" y="140"/>
                    </a:cubicBezTo>
                    <a:cubicBezTo>
                      <a:pt x="166" y="138"/>
                      <a:pt x="168" y="137"/>
                      <a:pt x="170" y="137"/>
                    </a:cubicBezTo>
                    <a:cubicBezTo>
                      <a:pt x="195" y="137"/>
                      <a:pt x="195" y="137"/>
                      <a:pt x="195" y="137"/>
                    </a:cubicBezTo>
                    <a:cubicBezTo>
                      <a:pt x="212" y="137"/>
                      <a:pt x="225" y="123"/>
                      <a:pt x="225" y="106"/>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97" name="Google Shape;3931;p20">
                <a:extLst>
                  <a:ext uri="{FF2B5EF4-FFF2-40B4-BE49-F238E27FC236}">
                    <a16:creationId xmlns:a16="http://schemas.microsoft.com/office/drawing/2014/main" id="{10DC7B3A-0A48-80C1-2359-78781D147C41}"/>
                  </a:ext>
                </a:extLst>
              </p:cNvPr>
              <p:cNvSpPr/>
              <p:nvPr/>
            </p:nvSpPr>
            <p:spPr>
              <a:xfrm>
                <a:off x="3640137" y="2049463"/>
                <a:ext cx="73025" cy="130175"/>
              </a:xfrm>
              <a:custGeom>
                <a:avLst/>
                <a:gdLst/>
                <a:ahLst/>
                <a:cxnLst/>
                <a:rect l="l" t="t" r="r" b="b"/>
                <a:pathLst>
                  <a:path w="72" h="129" extrusionOk="0">
                    <a:moveTo>
                      <a:pt x="63" y="0"/>
                    </a:moveTo>
                    <a:cubicBezTo>
                      <a:pt x="63" y="85"/>
                      <a:pt x="63" y="85"/>
                      <a:pt x="63" y="85"/>
                    </a:cubicBezTo>
                    <a:cubicBezTo>
                      <a:pt x="63" y="105"/>
                      <a:pt x="47" y="120"/>
                      <a:pt x="28" y="120"/>
                    </a:cubicBezTo>
                    <a:cubicBezTo>
                      <a:pt x="0" y="120"/>
                      <a:pt x="0" y="120"/>
                      <a:pt x="0" y="120"/>
                    </a:cubicBezTo>
                    <a:cubicBezTo>
                      <a:pt x="0" y="129"/>
                      <a:pt x="0" y="129"/>
                      <a:pt x="0" y="129"/>
                    </a:cubicBezTo>
                    <a:cubicBezTo>
                      <a:pt x="28" y="129"/>
                      <a:pt x="28" y="129"/>
                      <a:pt x="28" y="129"/>
                    </a:cubicBezTo>
                    <a:cubicBezTo>
                      <a:pt x="52" y="129"/>
                      <a:pt x="72" y="110"/>
                      <a:pt x="72" y="85"/>
                    </a:cubicBezTo>
                    <a:cubicBezTo>
                      <a:pt x="72" y="0"/>
                      <a:pt x="72" y="0"/>
                      <a:pt x="72" y="0"/>
                    </a:cubicBezTo>
                    <a:lnTo>
                      <a:pt x="63" y="0"/>
                    </a:ln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sp>
          <p:nvSpPr>
            <p:cNvPr id="99" name="TextBox 98">
              <a:extLst>
                <a:ext uri="{FF2B5EF4-FFF2-40B4-BE49-F238E27FC236}">
                  <a16:creationId xmlns:a16="http://schemas.microsoft.com/office/drawing/2014/main" id="{2C183652-B299-CB5A-A3AB-BEF19B16E5EB}"/>
                </a:ext>
              </a:extLst>
            </p:cNvPr>
            <p:cNvSpPr txBox="1"/>
            <p:nvPr/>
          </p:nvSpPr>
          <p:spPr>
            <a:xfrm>
              <a:off x="5520196" y="3730774"/>
              <a:ext cx="1078297" cy="6001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Utilities and energy suppliers</a:t>
              </a:r>
            </a:p>
          </p:txBody>
        </p:sp>
        <p:grpSp>
          <p:nvGrpSpPr>
            <p:cNvPr id="100" name="Google Shape;5510;p30">
              <a:extLst>
                <a:ext uri="{FF2B5EF4-FFF2-40B4-BE49-F238E27FC236}">
                  <a16:creationId xmlns:a16="http://schemas.microsoft.com/office/drawing/2014/main" id="{30FC8E6B-AE3E-B1C8-D2BE-B07B53477614}"/>
                </a:ext>
              </a:extLst>
            </p:cNvPr>
            <p:cNvGrpSpPr/>
            <p:nvPr/>
          </p:nvGrpSpPr>
          <p:grpSpPr>
            <a:xfrm>
              <a:off x="6748138" y="3927861"/>
              <a:ext cx="430950" cy="322597"/>
              <a:chOff x="4381501" y="4271963"/>
              <a:chExt cx="260350" cy="204788"/>
            </a:xfrm>
          </p:grpSpPr>
          <p:sp>
            <p:nvSpPr>
              <p:cNvPr id="101" name="Google Shape;5511;p30">
                <a:extLst>
                  <a:ext uri="{FF2B5EF4-FFF2-40B4-BE49-F238E27FC236}">
                    <a16:creationId xmlns:a16="http://schemas.microsoft.com/office/drawing/2014/main" id="{543CDFFE-6546-7DD5-91EF-3C6616092D65}"/>
                  </a:ext>
                </a:extLst>
              </p:cNvPr>
              <p:cNvSpPr/>
              <p:nvPr/>
            </p:nvSpPr>
            <p:spPr>
              <a:xfrm>
                <a:off x="4381501" y="4291013"/>
                <a:ext cx="206375" cy="185738"/>
              </a:xfrm>
              <a:custGeom>
                <a:avLst/>
                <a:gdLst/>
                <a:ahLst/>
                <a:cxnLst/>
                <a:rect l="l" t="t" r="r" b="b"/>
                <a:pathLst>
                  <a:path w="207" h="185" extrusionOk="0">
                    <a:moveTo>
                      <a:pt x="184" y="159"/>
                    </a:moveTo>
                    <a:cubicBezTo>
                      <a:pt x="175" y="157"/>
                      <a:pt x="166" y="159"/>
                      <a:pt x="159" y="164"/>
                    </a:cubicBezTo>
                    <a:cubicBezTo>
                      <a:pt x="153" y="156"/>
                      <a:pt x="145" y="150"/>
                      <a:pt x="135" y="148"/>
                    </a:cubicBezTo>
                    <a:cubicBezTo>
                      <a:pt x="129" y="125"/>
                      <a:pt x="120" y="106"/>
                      <a:pt x="111" y="91"/>
                    </a:cubicBezTo>
                    <a:cubicBezTo>
                      <a:pt x="111" y="91"/>
                      <a:pt x="112" y="91"/>
                      <a:pt x="112" y="90"/>
                    </a:cubicBezTo>
                    <a:cubicBezTo>
                      <a:pt x="119" y="80"/>
                      <a:pt x="121" y="66"/>
                      <a:pt x="116" y="53"/>
                    </a:cubicBezTo>
                    <a:cubicBezTo>
                      <a:pt x="110" y="34"/>
                      <a:pt x="95" y="19"/>
                      <a:pt x="77" y="13"/>
                    </a:cubicBezTo>
                    <a:cubicBezTo>
                      <a:pt x="38" y="0"/>
                      <a:pt x="6" y="11"/>
                      <a:pt x="5" y="12"/>
                    </a:cubicBezTo>
                    <a:cubicBezTo>
                      <a:pt x="0" y="13"/>
                      <a:pt x="0" y="13"/>
                      <a:pt x="0" y="13"/>
                    </a:cubicBezTo>
                    <a:cubicBezTo>
                      <a:pt x="1" y="18"/>
                      <a:pt x="1" y="18"/>
                      <a:pt x="1" y="18"/>
                    </a:cubicBezTo>
                    <a:cubicBezTo>
                      <a:pt x="1" y="20"/>
                      <a:pt x="4" y="55"/>
                      <a:pt x="28" y="85"/>
                    </a:cubicBezTo>
                    <a:cubicBezTo>
                      <a:pt x="39" y="98"/>
                      <a:pt x="57" y="106"/>
                      <a:pt x="75" y="106"/>
                    </a:cubicBezTo>
                    <a:cubicBezTo>
                      <a:pt x="76" y="106"/>
                      <a:pt x="77" y="106"/>
                      <a:pt x="78" y="106"/>
                    </a:cubicBezTo>
                    <a:cubicBezTo>
                      <a:pt x="87" y="106"/>
                      <a:pt x="95" y="103"/>
                      <a:pt x="102" y="99"/>
                    </a:cubicBezTo>
                    <a:cubicBezTo>
                      <a:pt x="110" y="112"/>
                      <a:pt x="117" y="128"/>
                      <a:pt x="122" y="148"/>
                    </a:cubicBezTo>
                    <a:cubicBezTo>
                      <a:pt x="111" y="149"/>
                      <a:pt x="100" y="155"/>
                      <a:pt x="94" y="164"/>
                    </a:cubicBezTo>
                    <a:cubicBezTo>
                      <a:pt x="87" y="159"/>
                      <a:pt x="78" y="157"/>
                      <a:pt x="69" y="159"/>
                    </a:cubicBezTo>
                    <a:cubicBezTo>
                      <a:pt x="57" y="161"/>
                      <a:pt x="48" y="171"/>
                      <a:pt x="46" y="183"/>
                    </a:cubicBezTo>
                    <a:cubicBezTo>
                      <a:pt x="58" y="185"/>
                      <a:pt x="58" y="185"/>
                      <a:pt x="58" y="185"/>
                    </a:cubicBezTo>
                    <a:cubicBezTo>
                      <a:pt x="59" y="178"/>
                      <a:pt x="65" y="172"/>
                      <a:pt x="72" y="170"/>
                    </a:cubicBezTo>
                    <a:cubicBezTo>
                      <a:pt x="79" y="169"/>
                      <a:pt x="86" y="172"/>
                      <a:pt x="90" y="178"/>
                    </a:cubicBezTo>
                    <a:cubicBezTo>
                      <a:pt x="95" y="175"/>
                      <a:pt x="95" y="175"/>
                      <a:pt x="95" y="175"/>
                    </a:cubicBezTo>
                    <a:cubicBezTo>
                      <a:pt x="101" y="177"/>
                      <a:pt x="101" y="177"/>
                      <a:pt x="101" y="177"/>
                    </a:cubicBezTo>
                    <a:cubicBezTo>
                      <a:pt x="105" y="166"/>
                      <a:pt x="115" y="159"/>
                      <a:pt x="127" y="159"/>
                    </a:cubicBezTo>
                    <a:cubicBezTo>
                      <a:pt x="137" y="159"/>
                      <a:pt x="148" y="166"/>
                      <a:pt x="152" y="177"/>
                    </a:cubicBezTo>
                    <a:cubicBezTo>
                      <a:pt x="158" y="174"/>
                      <a:pt x="158" y="174"/>
                      <a:pt x="158" y="174"/>
                    </a:cubicBezTo>
                    <a:cubicBezTo>
                      <a:pt x="163" y="178"/>
                      <a:pt x="163" y="178"/>
                      <a:pt x="163" y="178"/>
                    </a:cubicBezTo>
                    <a:cubicBezTo>
                      <a:pt x="167" y="172"/>
                      <a:pt x="174" y="169"/>
                      <a:pt x="181" y="170"/>
                    </a:cubicBezTo>
                    <a:cubicBezTo>
                      <a:pt x="188" y="172"/>
                      <a:pt x="194" y="178"/>
                      <a:pt x="195" y="185"/>
                    </a:cubicBezTo>
                    <a:cubicBezTo>
                      <a:pt x="207" y="183"/>
                      <a:pt x="207" y="183"/>
                      <a:pt x="207" y="183"/>
                    </a:cubicBezTo>
                    <a:cubicBezTo>
                      <a:pt x="205" y="171"/>
                      <a:pt x="196" y="161"/>
                      <a:pt x="184" y="159"/>
                    </a:cubicBezTo>
                    <a:close/>
                    <a:moveTo>
                      <a:pt x="77" y="94"/>
                    </a:moveTo>
                    <a:cubicBezTo>
                      <a:pt x="61" y="94"/>
                      <a:pt x="46" y="88"/>
                      <a:pt x="37" y="77"/>
                    </a:cubicBezTo>
                    <a:cubicBezTo>
                      <a:pt x="20" y="57"/>
                      <a:pt x="15" y="32"/>
                      <a:pt x="13" y="22"/>
                    </a:cubicBezTo>
                    <a:cubicBezTo>
                      <a:pt x="23" y="19"/>
                      <a:pt x="46" y="15"/>
                      <a:pt x="74" y="25"/>
                    </a:cubicBezTo>
                    <a:cubicBezTo>
                      <a:pt x="88" y="29"/>
                      <a:pt x="100" y="42"/>
                      <a:pt x="105" y="56"/>
                    </a:cubicBezTo>
                    <a:cubicBezTo>
                      <a:pt x="108" y="66"/>
                      <a:pt x="107" y="74"/>
                      <a:pt x="104" y="81"/>
                    </a:cubicBezTo>
                    <a:cubicBezTo>
                      <a:pt x="78" y="47"/>
                      <a:pt x="49" y="37"/>
                      <a:pt x="47" y="37"/>
                    </a:cubicBezTo>
                    <a:cubicBezTo>
                      <a:pt x="43" y="48"/>
                      <a:pt x="43" y="48"/>
                      <a:pt x="43" y="48"/>
                    </a:cubicBezTo>
                    <a:cubicBezTo>
                      <a:pt x="44" y="48"/>
                      <a:pt x="71" y="57"/>
                      <a:pt x="95" y="89"/>
                    </a:cubicBezTo>
                    <a:cubicBezTo>
                      <a:pt x="90" y="92"/>
                      <a:pt x="84" y="94"/>
                      <a:pt x="77" y="94"/>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02" name="Google Shape;5512;p30">
                <a:extLst>
                  <a:ext uri="{FF2B5EF4-FFF2-40B4-BE49-F238E27FC236}">
                    <a16:creationId xmlns:a16="http://schemas.microsoft.com/office/drawing/2014/main" id="{B786B436-03E0-0589-95D1-19AA93174C82}"/>
                  </a:ext>
                </a:extLst>
              </p:cNvPr>
              <p:cNvSpPr/>
              <p:nvPr/>
            </p:nvSpPr>
            <p:spPr>
              <a:xfrm>
                <a:off x="4513263" y="4271963"/>
                <a:ext cx="128588" cy="138113"/>
              </a:xfrm>
              <a:custGeom>
                <a:avLst/>
                <a:gdLst/>
                <a:ahLst/>
                <a:cxnLst/>
                <a:rect l="l" t="t" r="r" b="b"/>
                <a:pathLst>
                  <a:path w="128" h="138" extrusionOk="0">
                    <a:moveTo>
                      <a:pt x="128" y="35"/>
                    </a:moveTo>
                    <a:cubicBezTo>
                      <a:pt x="120" y="26"/>
                      <a:pt x="120" y="26"/>
                      <a:pt x="120" y="26"/>
                    </a:cubicBezTo>
                    <a:cubicBezTo>
                      <a:pt x="101" y="45"/>
                      <a:pt x="101" y="45"/>
                      <a:pt x="101" y="45"/>
                    </a:cubicBezTo>
                    <a:cubicBezTo>
                      <a:pt x="84" y="27"/>
                      <a:pt x="84" y="27"/>
                      <a:pt x="84" y="27"/>
                    </a:cubicBezTo>
                    <a:cubicBezTo>
                      <a:pt x="102" y="9"/>
                      <a:pt x="102" y="9"/>
                      <a:pt x="102" y="9"/>
                    </a:cubicBezTo>
                    <a:cubicBezTo>
                      <a:pt x="94" y="0"/>
                      <a:pt x="94" y="0"/>
                      <a:pt x="94" y="0"/>
                    </a:cubicBezTo>
                    <a:cubicBezTo>
                      <a:pt x="75" y="19"/>
                      <a:pt x="75" y="19"/>
                      <a:pt x="75" y="19"/>
                    </a:cubicBezTo>
                    <a:cubicBezTo>
                      <a:pt x="62" y="6"/>
                      <a:pt x="62" y="6"/>
                      <a:pt x="62" y="6"/>
                    </a:cubicBezTo>
                    <a:cubicBezTo>
                      <a:pt x="31" y="37"/>
                      <a:pt x="31" y="37"/>
                      <a:pt x="31" y="37"/>
                    </a:cubicBezTo>
                    <a:cubicBezTo>
                      <a:pt x="26" y="42"/>
                      <a:pt x="24" y="48"/>
                      <a:pt x="24" y="54"/>
                    </a:cubicBezTo>
                    <a:cubicBezTo>
                      <a:pt x="24" y="60"/>
                      <a:pt x="26" y="66"/>
                      <a:pt x="31" y="71"/>
                    </a:cubicBezTo>
                    <a:cubicBezTo>
                      <a:pt x="40" y="80"/>
                      <a:pt x="40" y="80"/>
                      <a:pt x="40" y="80"/>
                    </a:cubicBezTo>
                    <a:cubicBezTo>
                      <a:pt x="31" y="87"/>
                      <a:pt x="14" y="104"/>
                      <a:pt x="0" y="132"/>
                    </a:cubicBezTo>
                    <a:cubicBezTo>
                      <a:pt x="11" y="138"/>
                      <a:pt x="11" y="138"/>
                      <a:pt x="11" y="138"/>
                    </a:cubicBezTo>
                    <a:cubicBezTo>
                      <a:pt x="24" y="110"/>
                      <a:pt x="41" y="94"/>
                      <a:pt x="48" y="88"/>
                    </a:cubicBezTo>
                    <a:cubicBezTo>
                      <a:pt x="57" y="97"/>
                      <a:pt x="57" y="97"/>
                      <a:pt x="57" y="97"/>
                    </a:cubicBezTo>
                    <a:cubicBezTo>
                      <a:pt x="62" y="102"/>
                      <a:pt x="68" y="104"/>
                      <a:pt x="74" y="104"/>
                    </a:cubicBezTo>
                    <a:cubicBezTo>
                      <a:pt x="80" y="104"/>
                      <a:pt x="86" y="102"/>
                      <a:pt x="91" y="97"/>
                    </a:cubicBezTo>
                    <a:cubicBezTo>
                      <a:pt x="122" y="66"/>
                      <a:pt x="122" y="66"/>
                      <a:pt x="122" y="66"/>
                    </a:cubicBezTo>
                    <a:cubicBezTo>
                      <a:pt x="110" y="53"/>
                      <a:pt x="110" y="53"/>
                      <a:pt x="110" y="53"/>
                    </a:cubicBezTo>
                    <a:lnTo>
                      <a:pt x="128" y="35"/>
                    </a:lnTo>
                    <a:close/>
                    <a:moveTo>
                      <a:pt x="83" y="89"/>
                    </a:moveTo>
                    <a:cubicBezTo>
                      <a:pt x="78" y="93"/>
                      <a:pt x="70" y="93"/>
                      <a:pt x="66" y="89"/>
                    </a:cubicBezTo>
                    <a:cubicBezTo>
                      <a:pt x="39" y="62"/>
                      <a:pt x="39" y="62"/>
                      <a:pt x="39" y="62"/>
                    </a:cubicBezTo>
                    <a:cubicBezTo>
                      <a:pt x="37" y="60"/>
                      <a:pt x="36" y="57"/>
                      <a:pt x="36" y="54"/>
                    </a:cubicBezTo>
                    <a:cubicBezTo>
                      <a:pt x="36" y="51"/>
                      <a:pt x="37" y="48"/>
                      <a:pt x="39" y="46"/>
                    </a:cubicBezTo>
                    <a:cubicBezTo>
                      <a:pt x="62" y="23"/>
                      <a:pt x="62" y="23"/>
                      <a:pt x="62" y="23"/>
                    </a:cubicBezTo>
                    <a:cubicBezTo>
                      <a:pt x="105" y="66"/>
                      <a:pt x="105" y="66"/>
                      <a:pt x="105" y="66"/>
                    </a:cubicBezTo>
                    <a:lnTo>
                      <a:pt x="83" y="89"/>
                    </a:ln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pic>
          <p:nvPicPr>
            <p:cNvPr id="103" name="Picture 6">
              <a:extLst>
                <a:ext uri="{FF2B5EF4-FFF2-40B4-BE49-F238E27FC236}">
                  <a16:creationId xmlns:a16="http://schemas.microsoft.com/office/drawing/2014/main" id="{D1D849DD-A067-445F-7B33-E77C4BD259E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99766" y="4217403"/>
              <a:ext cx="514578" cy="14459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File:EDF Energy logo.svg - Wikipedia">
              <a:extLst>
                <a:ext uri="{FF2B5EF4-FFF2-40B4-BE49-F238E27FC236}">
                  <a16:creationId xmlns:a16="http://schemas.microsoft.com/office/drawing/2014/main" id="{5EDEC89D-BF0D-ACFF-AF58-72E419FEC2C8}"/>
                </a:ext>
              </a:extLst>
            </p:cNvPr>
            <p:cNvPicPr>
              <a:picLocks noChangeAspect="1"/>
            </p:cNvPicPr>
            <p:nvPr/>
          </p:nvPicPr>
          <p:blipFill>
            <a:blip r:embed="rId14"/>
            <a:stretch>
              <a:fillRect/>
            </a:stretch>
          </p:blipFill>
          <p:spPr>
            <a:xfrm>
              <a:off x="7331246" y="3904953"/>
              <a:ext cx="481457" cy="218972"/>
            </a:xfrm>
            <a:prstGeom prst="rect">
              <a:avLst/>
            </a:prstGeom>
          </p:spPr>
        </p:pic>
        <p:sp>
          <p:nvSpPr>
            <p:cNvPr id="105" name="TextBox 104">
              <a:extLst>
                <a:ext uri="{FF2B5EF4-FFF2-40B4-BE49-F238E27FC236}">
                  <a16:creationId xmlns:a16="http://schemas.microsoft.com/office/drawing/2014/main" id="{040DA621-B7B6-A9CD-E0DF-E1C629061A20}"/>
                </a:ext>
              </a:extLst>
            </p:cNvPr>
            <p:cNvSpPr txBox="1"/>
            <p:nvPr/>
          </p:nvSpPr>
          <p:spPr>
            <a:xfrm>
              <a:off x="10671195" y="3709760"/>
              <a:ext cx="1590102"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NGOs and advocacy groups</a:t>
              </a:r>
            </a:p>
          </p:txBody>
        </p:sp>
        <p:grpSp>
          <p:nvGrpSpPr>
            <p:cNvPr id="106" name="Google Shape;3987;p20">
              <a:extLst>
                <a:ext uri="{FF2B5EF4-FFF2-40B4-BE49-F238E27FC236}">
                  <a16:creationId xmlns:a16="http://schemas.microsoft.com/office/drawing/2014/main" id="{F47B0FB1-6A59-5AB4-D439-EBE4FAD25CE9}"/>
                </a:ext>
              </a:extLst>
            </p:cNvPr>
            <p:cNvGrpSpPr/>
            <p:nvPr/>
          </p:nvGrpSpPr>
          <p:grpSpPr>
            <a:xfrm>
              <a:off x="10248314" y="3801642"/>
              <a:ext cx="396368" cy="417350"/>
              <a:chOff x="2959101" y="2779713"/>
              <a:chExt cx="234950" cy="257175"/>
            </a:xfrm>
          </p:grpSpPr>
          <p:sp>
            <p:nvSpPr>
              <p:cNvPr id="107" name="Google Shape;3988;p20">
                <a:extLst>
                  <a:ext uri="{FF2B5EF4-FFF2-40B4-BE49-F238E27FC236}">
                    <a16:creationId xmlns:a16="http://schemas.microsoft.com/office/drawing/2014/main" id="{1AA0C1CE-41FA-ADAE-135D-2F753E984D66}"/>
                  </a:ext>
                </a:extLst>
              </p:cNvPr>
              <p:cNvSpPr/>
              <p:nvPr/>
            </p:nvSpPr>
            <p:spPr>
              <a:xfrm>
                <a:off x="2979738" y="2819401"/>
                <a:ext cx="49213" cy="53975"/>
              </a:xfrm>
              <a:custGeom>
                <a:avLst/>
                <a:gdLst/>
                <a:ahLst/>
                <a:cxnLst/>
                <a:rect l="l" t="t" r="r" b="b"/>
                <a:pathLst>
                  <a:path w="49" h="53" extrusionOk="0">
                    <a:moveTo>
                      <a:pt x="49" y="29"/>
                    </a:moveTo>
                    <a:cubicBezTo>
                      <a:pt x="49" y="25"/>
                      <a:pt x="49" y="25"/>
                      <a:pt x="49" y="25"/>
                    </a:cubicBezTo>
                    <a:cubicBezTo>
                      <a:pt x="49" y="11"/>
                      <a:pt x="38" y="0"/>
                      <a:pt x="24" y="0"/>
                    </a:cubicBezTo>
                    <a:cubicBezTo>
                      <a:pt x="11" y="0"/>
                      <a:pt x="0" y="11"/>
                      <a:pt x="0" y="25"/>
                    </a:cubicBezTo>
                    <a:cubicBezTo>
                      <a:pt x="0" y="29"/>
                      <a:pt x="0" y="29"/>
                      <a:pt x="0" y="29"/>
                    </a:cubicBezTo>
                    <a:cubicBezTo>
                      <a:pt x="0" y="42"/>
                      <a:pt x="11" y="53"/>
                      <a:pt x="24" y="53"/>
                    </a:cubicBezTo>
                    <a:cubicBezTo>
                      <a:pt x="38" y="53"/>
                      <a:pt x="49" y="42"/>
                      <a:pt x="49" y="29"/>
                    </a:cubicBezTo>
                    <a:close/>
                    <a:moveTo>
                      <a:pt x="24" y="10"/>
                    </a:moveTo>
                    <a:cubicBezTo>
                      <a:pt x="32" y="10"/>
                      <a:pt x="39" y="17"/>
                      <a:pt x="39" y="25"/>
                    </a:cubicBezTo>
                    <a:cubicBezTo>
                      <a:pt x="39" y="29"/>
                      <a:pt x="39" y="29"/>
                      <a:pt x="39" y="29"/>
                    </a:cubicBezTo>
                    <a:cubicBezTo>
                      <a:pt x="39" y="36"/>
                      <a:pt x="32" y="43"/>
                      <a:pt x="24" y="43"/>
                    </a:cubicBezTo>
                    <a:cubicBezTo>
                      <a:pt x="16" y="43"/>
                      <a:pt x="10" y="36"/>
                      <a:pt x="10" y="29"/>
                    </a:cubicBezTo>
                    <a:cubicBezTo>
                      <a:pt x="10" y="25"/>
                      <a:pt x="10" y="25"/>
                      <a:pt x="10" y="25"/>
                    </a:cubicBezTo>
                    <a:cubicBezTo>
                      <a:pt x="10" y="17"/>
                      <a:pt x="16" y="10"/>
                      <a:pt x="24" y="10"/>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08" name="Google Shape;3989;p20">
                <a:extLst>
                  <a:ext uri="{FF2B5EF4-FFF2-40B4-BE49-F238E27FC236}">
                    <a16:creationId xmlns:a16="http://schemas.microsoft.com/office/drawing/2014/main" id="{76E48F68-1FD6-836C-D08A-1B651D87700E}"/>
                  </a:ext>
                </a:extLst>
              </p:cNvPr>
              <p:cNvSpPr/>
              <p:nvPr/>
            </p:nvSpPr>
            <p:spPr>
              <a:xfrm>
                <a:off x="2998788" y="2954338"/>
                <a:ext cx="9600" cy="82500"/>
              </a:xfrm>
              <a:prstGeom prst="rect">
                <a:avLst/>
              </a:pr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09" name="Google Shape;3990;p20">
                <a:extLst>
                  <a:ext uri="{FF2B5EF4-FFF2-40B4-BE49-F238E27FC236}">
                    <a16:creationId xmlns:a16="http://schemas.microsoft.com/office/drawing/2014/main" id="{46836094-4183-B81D-34A0-652A08C5F687}"/>
                  </a:ext>
                </a:extLst>
              </p:cNvPr>
              <p:cNvSpPr/>
              <p:nvPr/>
            </p:nvSpPr>
            <p:spPr>
              <a:xfrm>
                <a:off x="2959101" y="2871788"/>
                <a:ext cx="90488" cy="165100"/>
              </a:xfrm>
              <a:custGeom>
                <a:avLst/>
                <a:gdLst/>
                <a:ahLst/>
                <a:cxnLst/>
                <a:rect l="l" t="t" r="r" b="b"/>
                <a:pathLst>
                  <a:path w="89" h="165" extrusionOk="0">
                    <a:moveTo>
                      <a:pt x="73" y="6"/>
                    </a:moveTo>
                    <a:cubicBezTo>
                      <a:pt x="54" y="0"/>
                      <a:pt x="34" y="0"/>
                      <a:pt x="16" y="6"/>
                    </a:cubicBezTo>
                    <a:cubicBezTo>
                      <a:pt x="6" y="9"/>
                      <a:pt x="0" y="18"/>
                      <a:pt x="0" y="28"/>
                    </a:cubicBezTo>
                    <a:cubicBezTo>
                      <a:pt x="0" y="77"/>
                      <a:pt x="0" y="77"/>
                      <a:pt x="0" y="77"/>
                    </a:cubicBezTo>
                    <a:cubicBezTo>
                      <a:pt x="0" y="84"/>
                      <a:pt x="6" y="89"/>
                      <a:pt x="12" y="89"/>
                    </a:cubicBezTo>
                    <a:cubicBezTo>
                      <a:pt x="18" y="89"/>
                      <a:pt x="18" y="89"/>
                      <a:pt x="18" y="89"/>
                    </a:cubicBezTo>
                    <a:cubicBezTo>
                      <a:pt x="18" y="165"/>
                      <a:pt x="18" y="165"/>
                      <a:pt x="18" y="165"/>
                    </a:cubicBezTo>
                    <a:cubicBezTo>
                      <a:pt x="28" y="165"/>
                      <a:pt x="28" y="165"/>
                      <a:pt x="28" y="165"/>
                    </a:cubicBezTo>
                    <a:cubicBezTo>
                      <a:pt x="28" y="36"/>
                      <a:pt x="28" y="36"/>
                      <a:pt x="28" y="36"/>
                    </a:cubicBezTo>
                    <a:cubicBezTo>
                      <a:pt x="18" y="36"/>
                      <a:pt x="18" y="36"/>
                      <a:pt x="18" y="36"/>
                    </a:cubicBezTo>
                    <a:cubicBezTo>
                      <a:pt x="18" y="79"/>
                      <a:pt x="18" y="79"/>
                      <a:pt x="18" y="79"/>
                    </a:cubicBezTo>
                    <a:cubicBezTo>
                      <a:pt x="12" y="79"/>
                      <a:pt x="12" y="79"/>
                      <a:pt x="12" y="79"/>
                    </a:cubicBezTo>
                    <a:cubicBezTo>
                      <a:pt x="11" y="79"/>
                      <a:pt x="10" y="78"/>
                      <a:pt x="10" y="77"/>
                    </a:cubicBezTo>
                    <a:cubicBezTo>
                      <a:pt x="10" y="28"/>
                      <a:pt x="10" y="28"/>
                      <a:pt x="10" y="28"/>
                    </a:cubicBezTo>
                    <a:cubicBezTo>
                      <a:pt x="10" y="22"/>
                      <a:pt x="14" y="17"/>
                      <a:pt x="19" y="15"/>
                    </a:cubicBezTo>
                    <a:cubicBezTo>
                      <a:pt x="35" y="10"/>
                      <a:pt x="53" y="10"/>
                      <a:pt x="70" y="16"/>
                    </a:cubicBezTo>
                    <a:cubicBezTo>
                      <a:pt x="75" y="17"/>
                      <a:pt x="78" y="22"/>
                      <a:pt x="78" y="28"/>
                    </a:cubicBezTo>
                    <a:cubicBezTo>
                      <a:pt x="78" y="77"/>
                      <a:pt x="78" y="77"/>
                      <a:pt x="78" y="77"/>
                    </a:cubicBezTo>
                    <a:cubicBezTo>
                      <a:pt x="78" y="78"/>
                      <a:pt x="78" y="79"/>
                      <a:pt x="76" y="79"/>
                    </a:cubicBezTo>
                    <a:cubicBezTo>
                      <a:pt x="71" y="79"/>
                      <a:pt x="71" y="79"/>
                      <a:pt x="71" y="79"/>
                    </a:cubicBezTo>
                    <a:cubicBezTo>
                      <a:pt x="71" y="36"/>
                      <a:pt x="71" y="36"/>
                      <a:pt x="71" y="36"/>
                    </a:cubicBezTo>
                    <a:cubicBezTo>
                      <a:pt x="61" y="36"/>
                      <a:pt x="61" y="36"/>
                      <a:pt x="61" y="36"/>
                    </a:cubicBezTo>
                    <a:cubicBezTo>
                      <a:pt x="61" y="165"/>
                      <a:pt x="61" y="165"/>
                      <a:pt x="61" y="165"/>
                    </a:cubicBezTo>
                    <a:cubicBezTo>
                      <a:pt x="71" y="165"/>
                      <a:pt x="71" y="165"/>
                      <a:pt x="71" y="165"/>
                    </a:cubicBezTo>
                    <a:cubicBezTo>
                      <a:pt x="71" y="89"/>
                      <a:pt x="71" y="89"/>
                      <a:pt x="71" y="89"/>
                    </a:cubicBezTo>
                    <a:cubicBezTo>
                      <a:pt x="76" y="89"/>
                      <a:pt x="76" y="89"/>
                      <a:pt x="76" y="89"/>
                    </a:cubicBezTo>
                    <a:cubicBezTo>
                      <a:pt x="83" y="89"/>
                      <a:pt x="89" y="84"/>
                      <a:pt x="89" y="77"/>
                    </a:cubicBezTo>
                    <a:cubicBezTo>
                      <a:pt x="89" y="28"/>
                      <a:pt x="89" y="28"/>
                      <a:pt x="89" y="28"/>
                    </a:cubicBezTo>
                    <a:cubicBezTo>
                      <a:pt x="89" y="18"/>
                      <a:pt x="82" y="9"/>
                      <a:pt x="73" y="6"/>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10" name="Google Shape;3991;p20">
                <a:extLst>
                  <a:ext uri="{FF2B5EF4-FFF2-40B4-BE49-F238E27FC236}">
                    <a16:creationId xmlns:a16="http://schemas.microsoft.com/office/drawing/2014/main" id="{27B98D1D-F906-EBEC-9392-D0876B30D6E0}"/>
                  </a:ext>
                </a:extLst>
              </p:cNvPr>
              <p:cNvSpPr/>
              <p:nvPr/>
            </p:nvSpPr>
            <p:spPr>
              <a:xfrm>
                <a:off x="3032126" y="2779713"/>
                <a:ext cx="111125" cy="101600"/>
              </a:xfrm>
              <a:custGeom>
                <a:avLst/>
                <a:gdLst/>
                <a:ahLst/>
                <a:cxnLst/>
                <a:rect l="l" t="t" r="r" b="b"/>
                <a:pathLst>
                  <a:path w="111" h="101" extrusionOk="0">
                    <a:moveTo>
                      <a:pt x="111" y="60"/>
                    </a:moveTo>
                    <a:cubicBezTo>
                      <a:pt x="111" y="18"/>
                      <a:pt x="111" y="18"/>
                      <a:pt x="111" y="18"/>
                    </a:cubicBezTo>
                    <a:cubicBezTo>
                      <a:pt x="111" y="8"/>
                      <a:pt x="103" y="0"/>
                      <a:pt x="93" y="0"/>
                    </a:cubicBezTo>
                    <a:cubicBezTo>
                      <a:pt x="18" y="0"/>
                      <a:pt x="18" y="0"/>
                      <a:pt x="18" y="0"/>
                    </a:cubicBezTo>
                    <a:cubicBezTo>
                      <a:pt x="8" y="0"/>
                      <a:pt x="0" y="8"/>
                      <a:pt x="0" y="18"/>
                    </a:cubicBezTo>
                    <a:cubicBezTo>
                      <a:pt x="0" y="60"/>
                      <a:pt x="0" y="60"/>
                      <a:pt x="0" y="60"/>
                    </a:cubicBezTo>
                    <a:cubicBezTo>
                      <a:pt x="0" y="69"/>
                      <a:pt x="7" y="76"/>
                      <a:pt x="15" y="77"/>
                    </a:cubicBezTo>
                    <a:cubicBezTo>
                      <a:pt x="15" y="96"/>
                      <a:pt x="15" y="96"/>
                      <a:pt x="15" y="96"/>
                    </a:cubicBezTo>
                    <a:cubicBezTo>
                      <a:pt x="15" y="98"/>
                      <a:pt x="16" y="100"/>
                      <a:pt x="18" y="100"/>
                    </a:cubicBezTo>
                    <a:cubicBezTo>
                      <a:pt x="19" y="101"/>
                      <a:pt x="19" y="101"/>
                      <a:pt x="20" y="101"/>
                    </a:cubicBezTo>
                    <a:cubicBezTo>
                      <a:pt x="21" y="101"/>
                      <a:pt x="23" y="100"/>
                      <a:pt x="24" y="99"/>
                    </a:cubicBezTo>
                    <a:cubicBezTo>
                      <a:pt x="41" y="78"/>
                      <a:pt x="41" y="78"/>
                      <a:pt x="41" y="78"/>
                    </a:cubicBezTo>
                    <a:cubicBezTo>
                      <a:pt x="93" y="78"/>
                      <a:pt x="93" y="78"/>
                      <a:pt x="93" y="78"/>
                    </a:cubicBezTo>
                    <a:cubicBezTo>
                      <a:pt x="103" y="78"/>
                      <a:pt x="111" y="70"/>
                      <a:pt x="111" y="60"/>
                    </a:cubicBezTo>
                    <a:close/>
                    <a:moveTo>
                      <a:pt x="20" y="68"/>
                    </a:moveTo>
                    <a:cubicBezTo>
                      <a:pt x="18" y="68"/>
                      <a:pt x="18" y="68"/>
                      <a:pt x="18" y="68"/>
                    </a:cubicBezTo>
                    <a:cubicBezTo>
                      <a:pt x="14" y="68"/>
                      <a:pt x="11" y="64"/>
                      <a:pt x="11" y="60"/>
                    </a:cubicBezTo>
                    <a:cubicBezTo>
                      <a:pt x="11" y="18"/>
                      <a:pt x="11" y="18"/>
                      <a:pt x="11" y="18"/>
                    </a:cubicBezTo>
                    <a:cubicBezTo>
                      <a:pt x="11" y="14"/>
                      <a:pt x="14" y="10"/>
                      <a:pt x="18" y="10"/>
                    </a:cubicBezTo>
                    <a:cubicBezTo>
                      <a:pt x="93" y="10"/>
                      <a:pt x="93" y="10"/>
                      <a:pt x="93" y="10"/>
                    </a:cubicBezTo>
                    <a:cubicBezTo>
                      <a:pt x="97" y="10"/>
                      <a:pt x="101" y="14"/>
                      <a:pt x="101" y="18"/>
                    </a:cubicBezTo>
                    <a:cubicBezTo>
                      <a:pt x="101" y="60"/>
                      <a:pt x="101" y="60"/>
                      <a:pt x="101" y="60"/>
                    </a:cubicBezTo>
                    <a:cubicBezTo>
                      <a:pt x="101" y="64"/>
                      <a:pt x="97" y="68"/>
                      <a:pt x="93" y="68"/>
                    </a:cubicBezTo>
                    <a:cubicBezTo>
                      <a:pt x="39" y="68"/>
                      <a:pt x="39" y="68"/>
                      <a:pt x="39" y="68"/>
                    </a:cubicBezTo>
                    <a:cubicBezTo>
                      <a:pt x="37" y="68"/>
                      <a:pt x="36" y="68"/>
                      <a:pt x="35" y="69"/>
                    </a:cubicBezTo>
                    <a:cubicBezTo>
                      <a:pt x="25" y="82"/>
                      <a:pt x="25" y="82"/>
                      <a:pt x="25" y="82"/>
                    </a:cubicBezTo>
                    <a:cubicBezTo>
                      <a:pt x="25" y="73"/>
                      <a:pt x="25" y="73"/>
                      <a:pt x="25" y="73"/>
                    </a:cubicBezTo>
                    <a:cubicBezTo>
                      <a:pt x="25" y="70"/>
                      <a:pt x="22" y="68"/>
                      <a:pt x="20" y="68"/>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11" name="Google Shape;3992;p20">
                <a:extLst>
                  <a:ext uri="{FF2B5EF4-FFF2-40B4-BE49-F238E27FC236}">
                    <a16:creationId xmlns:a16="http://schemas.microsoft.com/office/drawing/2014/main" id="{4A562480-DC06-B40A-9325-B94E6097A3B7}"/>
                  </a:ext>
                </a:extLst>
              </p:cNvPr>
              <p:cNvSpPr/>
              <p:nvPr/>
            </p:nvSpPr>
            <p:spPr>
              <a:xfrm>
                <a:off x="3082926" y="2809876"/>
                <a:ext cx="46038" cy="34925"/>
              </a:xfrm>
              <a:custGeom>
                <a:avLst/>
                <a:gdLst/>
                <a:ahLst/>
                <a:cxnLst/>
                <a:rect l="l" t="t" r="r" b="b"/>
                <a:pathLst>
                  <a:path w="46" h="35" extrusionOk="0">
                    <a:moveTo>
                      <a:pt x="10" y="18"/>
                    </a:moveTo>
                    <a:cubicBezTo>
                      <a:pt x="10" y="13"/>
                      <a:pt x="13" y="10"/>
                      <a:pt x="17" y="10"/>
                    </a:cubicBezTo>
                    <a:cubicBezTo>
                      <a:pt x="46" y="10"/>
                      <a:pt x="46" y="10"/>
                      <a:pt x="46" y="10"/>
                    </a:cubicBezTo>
                    <a:cubicBezTo>
                      <a:pt x="46" y="0"/>
                      <a:pt x="46" y="0"/>
                      <a:pt x="46" y="0"/>
                    </a:cubicBezTo>
                    <a:cubicBezTo>
                      <a:pt x="17" y="0"/>
                      <a:pt x="17" y="0"/>
                      <a:pt x="17" y="0"/>
                    </a:cubicBezTo>
                    <a:cubicBezTo>
                      <a:pt x="8" y="0"/>
                      <a:pt x="0" y="8"/>
                      <a:pt x="0" y="18"/>
                    </a:cubicBezTo>
                    <a:cubicBezTo>
                      <a:pt x="0" y="35"/>
                      <a:pt x="0" y="35"/>
                      <a:pt x="0" y="35"/>
                    </a:cubicBezTo>
                    <a:cubicBezTo>
                      <a:pt x="10" y="35"/>
                      <a:pt x="10" y="35"/>
                      <a:pt x="10" y="35"/>
                    </a:cubicBezTo>
                    <a:lnTo>
                      <a:pt x="10" y="18"/>
                    </a:ln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12" name="Google Shape;3993;p20">
                <a:extLst>
                  <a:ext uri="{FF2B5EF4-FFF2-40B4-BE49-F238E27FC236}">
                    <a16:creationId xmlns:a16="http://schemas.microsoft.com/office/drawing/2014/main" id="{15865988-E5CF-59C1-DB74-FE9E8E80F93F}"/>
                  </a:ext>
                </a:extLst>
              </p:cNvPr>
              <p:cNvSpPr/>
              <p:nvPr/>
            </p:nvSpPr>
            <p:spPr>
              <a:xfrm>
                <a:off x="3082926" y="2809876"/>
                <a:ext cx="111125" cy="101600"/>
              </a:xfrm>
              <a:custGeom>
                <a:avLst/>
                <a:gdLst/>
                <a:ahLst/>
                <a:cxnLst/>
                <a:rect l="l" t="t" r="r" b="b"/>
                <a:pathLst>
                  <a:path w="110" h="101" extrusionOk="0">
                    <a:moveTo>
                      <a:pt x="93" y="0"/>
                    </a:moveTo>
                    <a:cubicBezTo>
                      <a:pt x="64" y="0"/>
                      <a:pt x="64" y="0"/>
                      <a:pt x="64" y="0"/>
                    </a:cubicBezTo>
                    <a:cubicBezTo>
                      <a:pt x="64" y="10"/>
                      <a:pt x="64" y="10"/>
                      <a:pt x="64" y="10"/>
                    </a:cubicBezTo>
                    <a:cubicBezTo>
                      <a:pt x="93" y="10"/>
                      <a:pt x="93" y="10"/>
                      <a:pt x="93" y="10"/>
                    </a:cubicBezTo>
                    <a:cubicBezTo>
                      <a:pt x="97" y="10"/>
                      <a:pt x="100" y="13"/>
                      <a:pt x="100" y="18"/>
                    </a:cubicBezTo>
                    <a:cubicBezTo>
                      <a:pt x="100" y="60"/>
                      <a:pt x="100" y="60"/>
                      <a:pt x="100" y="60"/>
                    </a:cubicBezTo>
                    <a:cubicBezTo>
                      <a:pt x="100" y="64"/>
                      <a:pt x="97" y="68"/>
                      <a:pt x="93" y="68"/>
                    </a:cubicBezTo>
                    <a:cubicBezTo>
                      <a:pt x="91" y="68"/>
                      <a:pt x="91" y="68"/>
                      <a:pt x="91" y="68"/>
                    </a:cubicBezTo>
                    <a:cubicBezTo>
                      <a:pt x="88" y="68"/>
                      <a:pt x="86" y="70"/>
                      <a:pt x="86" y="73"/>
                    </a:cubicBezTo>
                    <a:cubicBezTo>
                      <a:pt x="86" y="82"/>
                      <a:pt x="86" y="82"/>
                      <a:pt x="86" y="82"/>
                    </a:cubicBezTo>
                    <a:cubicBezTo>
                      <a:pt x="76" y="69"/>
                      <a:pt x="76" y="69"/>
                      <a:pt x="76" y="69"/>
                    </a:cubicBezTo>
                    <a:cubicBezTo>
                      <a:pt x="75" y="68"/>
                      <a:pt x="73" y="68"/>
                      <a:pt x="72" y="68"/>
                    </a:cubicBezTo>
                    <a:cubicBezTo>
                      <a:pt x="17" y="68"/>
                      <a:pt x="17" y="68"/>
                      <a:pt x="17" y="68"/>
                    </a:cubicBezTo>
                    <a:cubicBezTo>
                      <a:pt x="13" y="68"/>
                      <a:pt x="10" y="64"/>
                      <a:pt x="10" y="60"/>
                    </a:cubicBezTo>
                    <a:cubicBezTo>
                      <a:pt x="10" y="50"/>
                      <a:pt x="10" y="50"/>
                      <a:pt x="10" y="50"/>
                    </a:cubicBezTo>
                    <a:cubicBezTo>
                      <a:pt x="0" y="50"/>
                      <a:pt x="0" y="50"/>
                      <a:pt x="0" y="50"/>
                    </a:cubicBezTo>
                    <a:cubicBezTo>
                      <a:pt x="0" y="60"/>
                      <a:pt x="0" y="60"/>
                      <a:pt x="0" y="60"/>
                    </a:cubicBezTo>
                    <a:cubicBezTo>
                      <a:pt x="0" y="70"/>
                      <a:pt x="8" y="78"/>
                      <a:pt x="17" y="78"/>
                    </a:cubicBezTo>
                    <a:cubicBezTo>
                      <a:pt x="69" y="78"/>
                      <a:pt x="69" y="78"/>
                      <a:pt x="69" y="78"/>
                    </a:cubicBezTo>
                    <a:cubicBezTo>
                      <a:pt x="87" y="99"/>
                      <a:pt x="87" y="99"/>
                      <a:pt x="87" y="99"/>
                    </a:cubicBezTo>
                    <a:cubicBezTo>
                      <a:pt x="88" y="100"/>
                      <a:pt x="89" y="101"/>
                      <a:pt x="91" y="101"/>
                    </a:cubicBezTo>
                    <a:cubicBezTo>
                      <a:pt x="91" y="101"/>
                      <a:pt x="92" y="101"/>
                      <a:pt x="93" y="100"/>
                    </a:cubicBezTo>
                    <a:cubicBezTo>
                      <a:pt x="95" y="100"/>
                      <a:pt x="96" y="98"/>
                      <a:pt x="96" y="96"/>
                    </a:cubicBezTo>
                    <a:cubicBezTo>
                      <a:pt x="96" y="77"/>
                      <a:pt x="96" y="77"/>
                      <a:pt x="96" y="77"/>
                    </a:cubicBezTo>
                    <a:cubicBezTo>
                      <a:pt x="104" y="76"/>
                      <a:pt x="110" y="68"/>
                      <a:pt x="110" y="60"/>
                    </a:cubicBezTo>
                    <a:cubicBezTo>
                      <a:pt x="110" y="18"/>
                      <a:pt x="110" y="18"/>
                      <a:pt x="110" y="18"/>
                    </a:cubicBezTo>
                    <a:cubicBezTo>
                      <a:pt x="110" y="8"/>
                      <a:pt x="102" y="0"/>
                      <a:pt x="93" y="0"/>
                    </a:cubicBezTo>
                    <a:close/>
                  </a:path>
                </a:pathLst>
              </a:custGeom>
              <a:solidFill>
                <a:schemeClr val="dk1"/>
              </a:solidFill>
              <a:ln>
                <a:no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pic>
          <p:nvPicPr>
            <p:cNvPr id="113" name="Picture 4" descr="Greenpeace UK">
              <a:extLst>
                <a:ext uri="{FF2B5EF4-FFF2-40B4-BE49-F238E27FC236}">
                  <a16:creationId xmlns:a16="http://schemas.microsoft.com/office/drawing/2014/main" id="{0803DB05-570D-6F20-C47A-FF51A5E0227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381818" y="3894657"/>
              <a:ext cx="684526" cy="10792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6" descr="National Energy Action (NEA) - the UK's leading fuel poverty charity">
              <a:extLst>
                <a:ext uri="{FF2B5EF4-FFF2-40B4-BE49-F238E27FC236}">
                  <a16:creationId xmlns:a16="http://schemas.microsoft.com/office/drawing/2014/main" id="{52E32D01-74E7-102F-B1A8-40110781453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846012" y="4882200"/>
              <a:ext cx="410752" cy="396091"/>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B543EB82-90C6-8970-930F-4E955D868A84}"/>
                </a:ext>
              </a:extLst>
            </p:cNvPr>
            <p:cNvSpPr txBox="1"/>
            <p:nvPr/>
          </p:nvSpPr>
          <p:spPr>
            <a:xfrm>
              <a:off x="5137357" y="2869202"/>
              <a:ext cx="173265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Flexibility </a:t>
              </a:r>
              <a:r>
                <a:rPr lang="en-GB" sz="1100" b="1" kern="0">
                  <a:solidFill>
                    <a:schemeClr val="tx1">
                      <a:lumMod val="85000"/>
                      <a:lumOff val="15000"/>
                    </a:schemeClr>
                  </a:solidFill>
                  <a:latin typeface="Arial" panose="020B0604020202020204" pitchFamily="34" charset="0"/>
                  <a:cs typeface="Arial" panose="020B0604020202020204" pitchFamily="34" charset="0"/>
                </a:rPr>
                <a:t>provid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aggregators</a:t>
              </a:r>
            </a:p>
          </p:txBody>
        </p:sp>
        <p:pic>
          <p:nvPicPr>
            <p:cNvPr id="116" name="Picture 2" descr="Kiwi Power Company Profile: Valuation, Investors ...">
              <a:extLst>
                <a:ext uri="{FF2B5EF4-FFF2-40B4-BE49-F238E27FC236}">
                  <a16:creationId xmlns:a16="http://schemas.microsoft.com/office/drawing/2014/main" id="{2B0911AB-6B97-18EE-6613-DA3B7703E941}"/>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32084" b="32396"/>
            <a:stretch/>
          </p:blipFill>
          <p:spPr bwMode="auto">
            <a:xfrm>
              <a:off x="7611975" y="3250165"/>
              <a:ext cx="767741" cy="262973"/>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oogle Shape;4994;p26">
              <a:extLst>
                <a:ext uri="{FF2B5EF4-FFF2-40B4-BE49-F238E27FC236}">
                  <a16:creationId xmlns:a16="http://schemas.microsoft.com/office/drawing/2014/main" id="{590F72B8-CE68-9366-1394-81771D8975D0}"/>
                </a:ext>
              </a:extLst>
            </p:cNvPr>
            <p:cNvGrpSpPr/>
            <p:nvPr/>
          </p:nvGrpSpPr>
          <p:grpSpPr>
            <a:xfrm>
              <a:off x="6980115" y="3122494"/>
              <a:ext cx="473630" cy="401073"/>
              <a:chOff x="457200" y="4852845"/>
              <a:chExt cx="265112" cy="233362"/>
            </a:xfrm>
          </p:grpSpPr>
          <p:sp>
            <p:nvSpPr>
              <p:cNvPr id="118" name="Google Shape;4995;p26">
                <a:extLst>
                  <a:ext uri="{FF2B5EF4-FFF2-40B4-BE49-F238E27FC236}">
                    <a16:creationId xmlns:a16="http://schemas.microsoft.com/office/drawing/2014/main" id="{969CECD3-D7C6-DA81-896D-FBD79D3384D3}"/>
                  </a:ext>
                </a:extLst>
              </p:cNvPr>
              <p:cNvSpPr/>
              <p:nvPr/>
            </p:nvSpPr>
            <p:spPr>
              <a:xfrm>
                <a:off x="608012" y="4852845"/>
                <a:ext cx="114300" cy="92075"/>
              </a:xfrm>
              <a:custGeom>
                <a:avLst/>
                <a:gdLst/>
                <a:ahLst/>
                <a:cxnLst/>
                <a:rect l="l" t="t" r="r" b="b"/>
                <a:pathLst>
                  <a:path w="113" h="92" extrusionOk="0">
                    <a:moveTo>
                      <a:pt x="67" y="92"/>
                    </a:moveTo>
                    <a:cubicBezTo>
                      <a:pt x="66" y="92"/>
                      <a:pt x="65" y="92"/>
                      <a:pt x="65" y="92"/>
                    </a:cubicBezTo>
                    <a:cubicBezTo>
                      <a:pt x="63" y="91"/>
                      <a:pt x="62" y="89"/>
                      <a:pt x="62" y="87"/>
                    </a:cubicBezTo>
                    <a:cubicBezTo>
                      <a:pt x="62" y="70"/>
                      <a:pt x="62" y="70"/>
                      <a:pt x="62" y="70"/>
                    </a:cubicBezTo>
                    <a:cubicBezTo>
                      <a:pt x="0" y="70"/>
                      <a:pt x="0" y="70"/>
                      <a:pt x="0" y="70"/>
                    </a:cubicBezTo>
                    <a:cubicBezTo>
                      <a:pt x="0" y="60"/>
                      <a:pt x="0" y="60"/>
                      <a:pt x="0" y="60"/>
                    </a:cubicBezTo>
                    <a:cubicBezTo>
                      <a:pt x="67" y="60"/>
                      <a:pt x="67" y="60"/>
                      <a:pt x="67" y="60"/>
                    </a:cubicBezTo>
                    <a:cubicBezTo>
                      <a:pt x="69" y="60"/>
                      <a:pt x="72" y="62"/>
                      <a:pt x="72" y="65"/>
                    </a:cubicBezTo>
                    <a:cubicBezTo>
                      <a:pt x="72" y="75"/>
                      <a:pt x="72" y="75"/>
                      <a:pt x="72" y="75"/>
                    </a:cubicBezTo>
                    <a:cubicBezTo>
                      <a:pt x="100" y="46"/>
                      <a:pt x="100" y="46"/>
                      <a:pt x="100" y="46"/>
                    </a:cubicBezTo>
                    <a:cubicBezTo>
                      <a:pt x="72" y="17"/>
                      <a:pt x="72" y="17"/>
                      <a:pt x="72" y="17"/>
                    </a:cubicBezTo>
                    <a:cubicBezTo>
                      <a:pt x="72" y="26"/>
                      <a:pt x="72" y="26"/>
                      <a:pt x="72" y="26"/>
                    </a:cubicBezTo>
                    <a:cubicBezTo>
                      <a:pt x="72" y="29"/>
                      <a:pt x="69" y="31"/>
                      <a:pt x="67" y="31"/>
                    </a:cubicBezTo>
                    <a:cubicBezTo>
                      <a:pt x="0" y="31"/>
                      <a:pt x="0" y="31"/>
                      <a:pt x="0" y="31"/>
                    </a:cubicBezTo>
                    <a:cubicBezTo>
                      <a:pt x="0" y="21"/>
                      <a:pt x="0" y="21"/>
                      <a:pt x="0" y="21"/>
                    </a:cubicBezTo>
                    <a:cubicBezTo>
                      <a:pt x="62" y="21"/>
                      <a:pt x="62" y="21"/>
                      <a:pt x="62" y="21"/>
                    </a:cubicBezTo>
                    <a:cubicBezTo>
                      <a:pt x="62" y="5"/>
                      <a:pt x="62" y="5"/>
                      <a:pt x="62" y="5"/>
                    </a:cubicBezTo>
                    <a:cubicBezTo>
                      <a:pt x="62" y="3"/>
                      <a:pt x="63" y="2"/>
                      <a:pt x="65" y="1"/>
                    </a:cubicBezTo>
                    <a:cubicBezTo>
                      <a:pt x="66" y="0"/>
                      <a:pt x="69" y="0"/>
                      <a:pt x="70" y="2"/>
                    </a:cubicBezTo>
                    <a:cubicBezTo>
                      <a:pt x="111" y="43"/>
                      <a:pt x="111" y="43"/>
                      <a:pt x="111" y="43"/>
                    </a:cubicBezTo>
                    <a:cubicBezTo>
                      <a:pt x="113" y="45"/>
                      <a:pt x="113" y="48"/>
                      <a:pt x="111" y="50"/>
                    </a:cubicBezTo>
                    <a:cubicBezTo>
                      <a:pt x="70" y="91"/>
                      <a:pt x="70" y="91"/>
                      <a:pt x="70" y="91"/>
                    </a:cubicBezTo>
                    <a:cubicBezTo>
                      <a:pt x="69" y="92"/>
                      <a:pt x="68" y="92"/>
                      <a:pt x="67" y="92"/>
                    </a:cubicBezTo>
                    <a:close/>
                  </a:path>
                </a:pathLst>
              </a:custGeom>
              <a:solidFill>
                <a:schemeClr val="dk1"/>
              </a:solidFill>
              <a:ln>
                <a:noFill/>
              </a:ln>
            </p:spPr>
            <p:txBody>
              <a:bodyPr spcFirstLastPara="1" wrap="square" lIns="79125" tIns="39550" rIns="79125" bIns="3955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nvGrpSpPr>
              <p:cNvPr id="119" name="Google Shape;4996;p26">
                <a:extLst>
                  <a:ext uri="{FF2B5EF4-FFF2-40B4-BE49-F238E27FC236}">
                    <a16:creationId xmlns:a16="http://schemas.microsoft.com/office/drawing/2014/main" id="{4BF89FF0-C450-3C06-A06D-2EACE2FAFBE5}"/>
                  </a:ext>
                </a:extLst>
              </p:cNvPr>
              <p:cNvGrpSpPr/>
              <p:nvPr/>
            </p:nvGrpSpPr>
            <p:grpSpPr>
              <a:xfrm>
                <a:off x="457200" y="4852845"/>
                <a:ext cx="233363" cy="233362"/>
                <a:chOff x="457200" y="4264026"/>
                <a:chExt cx="233363" cy="233362"/>
              </a:xfrm>
            </p:grpSpPr>
            <p:sp>
              <p:nvSpPr>
                <p:cNvPr id="120" name="Google Shape;4997;p26">
                  <a:extLst>
                    <a:ext uri="{FF2B5EF4-FFF2-40B4-BE49-F238E27FC236}">
                      <a16:creationId xmlns:a16="http://schemas.microsoft.com/office/drawing/2014/main" id="{C4965DA7-98A6-3462-B302-C155E185A0D0}"/>
                    </a:ext>
                  </a:extLst>
                </p:cNvPr>
                <p:cNvSpPr/>
                <p:nvPr/>
              </p:nvSpPr>
              <p:spPr>
                <a:xfrm>
                  <a:off x="457200" y="4284663"/>
                  <a:ext cx="211138" cy="212725"/>
                </a:xfrm>
                <a:custGeom>
                  <a:avLst/>
                  <a:gdLst/>
                  <a:ahLst/>
                  <a:cxnLst/>
                  <a:rect l="l" t="t" r="r" b="b"/>
                  <a:pathLst>
                    <a:path w="211" h="212" extrusionOk="0">
                      <a:moveTo>
                        <a:pt x="101" y="212"/>
                      </a:moveTo>
                      <a:cubicBezTo>
                        <a:pt x="76" y="210"/>
                        <a:pt x="53" y="201"/>
                        <a:pt x="35" y="184"/>
                      </a:cubicBezTo>
                      <a:cubicBezTo>
                        <a:pt x="41" y="177"/>
                        <a:pt x="41" y="177"/>
                        <a:pt x="41" y="177"/>
                      </a:cubicBezTo>
                      <a:cubicBezTo>
                        <a:pt x="58" y="192"/>
                        <a:pt x="79" y="201"/>
                        <a:pt x="101" y="202"/>
                      </a:cubicBezTo>
                      <a:lnTo>
                        <a:pt x="101" y="212"/>
                      </a:lnTo>
                      <a:close/>
                      <a:moveTo>
                        <a:pt x="110" y="211"/>
                      </a:moveTo>
                      <a:cubicBezTo>
                        <a:pt x="110" y="201"/>
                        <a:pt x="110" y="201"/>
                        <a:pt x="110" y="201"/>
                      </a:cubicBezTo>
                      <a:cubicBezTo>
                        <a:pt x="138" y="200"/>
                        <a:pt x="165" y="186"/>
                        <a:pt x="182" y="163"/>
                      </a:cubicBezTo>
                      <a:cubicBezTo>
                        <a:pt x="190" y="170"/>
                        <a:pt x="190" y="170"/>
                        <a:pt x="190" y="170"/>
                      </a:cubicBezTo>
                      <a:cubicBezTo>
                        <a:pt x="171" y="195"/>
                        <a:pt x="142" y="210"/>
                        <a:pt x="110" y="211"/>
                      </a:cubicBezTo>
                      <a:close/>
                      <a:moveTo>
                        <a:pt x="28" y="178"/>
                      </a:moveTo>
                      <a:cubicBezTo>
                        <a:pt x="11" y="159"/>
                        <a:pt x="1" y="135"/>
                        <a:pt x="0" y="111"/>
                      </a:cubicBezTo>
                      <a:cubicBezTo>
                        <a:pt x="10" y="110"/>
                        <a:pt x="10" y="110"/>
                        <a:pt x="10" y="110"/>
                      </a:cubicBezTo>
                      <a:cubicBezTo>
                        <a:pt x="11" y="133"/>
                        <a:pt x="20" y="154"/>
                        <a:pt x="35" y="171"/>
                      </a:cubicBezTo>
                      <a:lnTo>
                        <a:pt x="28" y="178"/>
                      </a:lnTo>
                      <a:close/>
                      <a:moveTo>
                        <a:pt x="101" y="172"/>
                      </a:moveTo>
                      <a:cubicBezTo>
                        <a:pt x="87" y="171"/>
                        <a:pt x="73" y="166"/>
                        <a:pt x="62" y="157"/>
                      </a:cubicBezTo>
                      <a:cubicBezTo>
                        <a:pt x="69" y="149"/>
                        <a:pt x="69" y="149"/>
                        <a:pt x="69" y="149"/>
                      </a:cubicBezTo>
                      <a:cubicBezTo>
                        <a:pt x="78" y="157"/>
                        <a:pt x="89" y="162"/>
                        <a:pt x="101" y="162"/>
                      </a:cubicBezTo>
                      <a:lnTo>
                        <a:pt x="101" y="172"/>
                      </a:lnTo>
                      <a:close/>
                      <a:moveTo>
                        <a:pt x="110" y="172"/>
                      </a:moveTo>
                      <a:cubicBezTo>
                        <a:pt x="110" y="162"/>
                        <a:pt x="110" y="162"/>
                        <a:pt x="110" y="162"/>
                      </a:cubicBezTo>
                      <a:cubicBezTo>
                        <a:pt x="127" y="161"/>
                        <a:pt x="143" y="152"/>
                        <a:pt x="153" y="137"/>
                      </a:cubicBezTo>
                      <a:cubicBezTo>
                        <a:pt x="161" y="143"/>
                        <a:pt x="161" y="143"/>
                        <a:pt x="161" y="143"/>
                      </a:cubicBezTo>
                      <a:cubicBezTo>
                        <a:pt x="150" y="160"/>
                        <a:pt x="131" y="171"/>
                        <a:pt x="110" y="172"/>
                      </a:cubicBezTo>
                      <a:close/>
                      <a:moveTo>
                        <a:pt x="55" y="150"/>
                      </a:moveTo>
                      <a:cubicBezTo>
                        <a:pt x="46" y="139"/>
                        <a:pt x="40" y="125"/>
                        <a:pt x="39" y="111"/>
                      </a:cubicBezTo>
                      <a:cubicBezTo>
                        <a:pt x="49" y="110"/>
                        <a:pt x="49" y="110"/>
                        <a:pt x="49" y="110"/>
                      </a:cubicBezTo>
                      <a:cubicBezTo>
                        <a:pt x="50" y="122"/>
                        <a:pt x="55" y="134"/>
                        <a:pt x="63" y="143"/>
                      </a:cubicBezTo>
                      <a:lnTo>
                        <a:pt x="55" y="150"/>
                      </a:lnTo>
                      <a:close/>
                      <a:moveTo>
                        <a:pt x="211" y="106"/>
                      </a:moveTo>
                      <a:cubicBezTo>
                        <a:pt x="201" y="106"/>
                        <a:pt x="201" y="106"/>
                        <a:pt x="201" y="106"/>
                      </a:cubicBezTo>
                      <a:cubicBezTo>
                        <a:pt x="201" y="105"/>
                        <a:pt x="201" y="104"/>
                        <a:pt x="201" y="104"/>
                      </a:cubicBezTo>
                      <a:cubicBezTo>
                        <a:pt x="206" y="104"/>
                        <a:pt x="206" y="104"/>
                        <a:pt x="206" y="104"/>
                      </a:cubicBezTo>
                      <a:cubicBezTo>
                        <a:pt x="201" y="104"/>
                        <a:pt x="201" y="104"/>
                        <a:pt x="201" y="104"/>
                      </a:cubicBezTo>
                      <a:cubicBezTo>
                        <a:pt x="201" y="88"/>
                        <a:pt x="197" y="74"/>
                        <a:pt x="190" y="60"/>
                      </a:cubicBezTo>
                      <a:cubicBezTo>
                        <a:pt x="199" y="55"/>
                        <a:pt x="199" y="55"/>
                        <a:pt x="199" y="55"/>
                      </a:cubicBezTo>
                      <a:cubicBezTo>
                        <a:pt x="207" y="70"/>
                        <a:pt x="211" y="86"/>
                        <a:pt x="211" y="103"/>
                      </a:cubicBezTo>
                      <a:cubicBezTo>
                        <a:pt x="211" y="104"/>
                        <a:pt x="211" y="105"/>
                        <a:pt x="211" y="106"/>
                      </a:cubicBezTo>
                      <a:close/>
                      <a:moveTo>
                        <a:pt x="172" y="106"/>
                      </a:moveTo>
                      <a:cubicBezTo>
                        <a:pt x="162" y="106"/>
                        <a:pt x="162" y="106"/>
                        <a:pt x="162" y="106"/>
                      </a:cubicBezTo>
                      <a:cubicBezTo>
                        <a:pt x="162" y="106"/>
                        <a:pt x="162" y="105"/>
                        <a:pt x="162" y="105"/>
                      </a:cubicBezTo>
                      <a:cubicBezTo>
                        <a:pt x="162" y="88"/>
                        <a:pt x="154" y="72"/>
                        <a:pt x="142" y="62"/>
                      </a:cubicBezTo>
                      <a:cubicBezTo>
                        <a:pt x="148" y="54"/>
                        <a:pt x="148" y="54"/>
                        <a:pt x="148" y="54"/>
                      </a:cubicBezTo>
                      <a:cubicBezTo>
                        <a:pt x="163" y="66"/>
                        <a:pt x="172" y="85"/>
                        <a:pt x="172" y="104"/>
                      </a:cubicBezTo>
                      <a:cubicBezTo>
                        <a:pt x="172" y="105"/>
                        <a:pt x="172" y="105"/>
                        <a:pt x="172" y="106"/>
                      </a:cubicBezTo>
                      <a:close/>
                      <a:moveTo>
                        <a:pt x="49" y="102"/>
                      </a:moveTo>
                      <a:cubicBezTo>
                        <a:pt x="39" y="101"/>
                        <a:pt x="39" y="101"/>
                        <a:pt x="39" y="101"/>
                      </a:cubicBezTo>
                      <a:cubicBezTo>
                        <a:pt x="40" y="87"/>
                        <a:pt x="45" y="75"/>
                        <a:pt x="53" y="64"/>
                      </a:cubicBezTo>
                      <a:cubicBezTo>
                        <a:pt x="61" y="70"/>
                        <a:pt x="61" y="70"/>
                        <a:pt x="61" y="70"/>
                      </a:cubicBezTo>
                      <a:cubicBezTo>
                        <a:pt x="54" y="79"/>
                        <a:pt x="50" y="90"/>
                        <a:pt x="49" y="102"/>
                      </a:cubicBezTo>
                      <a:close/>
                      <a:moveTo>
                        <a:pt x="10" y="101"/>
                      </a:moveTo>
                      <a:cubicBezTo>
                        <a:pt x="0" y="101"/>
                        <a:pt x="0" y="101"/>
                        <a:pt x="0" y="101"/>
                      </a:cubicBezTo>
                      <a:cubicBezTo>
                        <a:pt x="1" y="77"/>
                        <a:pt x="10" y="55"/>
                        <a:pt x="26" y="36"/>
                      </a:cubicBezTo>
                      <a:cubicBezTo>
                        <a:pt x="33" y="43"/>
                        <a:pt x="33" y="43"/>
                        <a:pt x="33" y="43"/>
                      </a:cubicBezTo>
                      <a:cubicBezTo>
                        <a:pt x="19" y="59"/>
                        <a:pt x="11" y="80"/>
                        <a:pt x="10" y="101"/>
                      </a:cubicBezTo>
                      <a:close/>
                      <a:moveTo>
                        <a:pt x="67" y="64"/>
                      </a:moveTo>
                      <a:cubicBezTo>
                        <a:pt x="60" y="57"/>
                        <a:pt x="60" y="57"/>
                        <a:pt x="60" y="57"/>
                      </a:cubicBezTo>
                      <a:cubicBezTo>
                        <a:pt x="72" y="45"/>
                        <a:pt x="88" y="39"/>
                        <a:pt x="105" y="39"/>
                      </a:cubicBezTo>
                      <a:cubicBezTo>
                        <a:pt x="105" y="49"/>
                        <a:pt x="105" y="49"/>
                        <a:pt x="105" y="49"/>
                      </a:cubicBezTo>
                      <a:cubicBezTo>
                        <a:pt x="91" y="49"/>
                        <a:pt x="77" y="54"/>
                        <a:pt x="67" y="64"/>
                      </a:cubicBezTo>
                      <a:close/>
                      <a:moveTo>
                        <a:pt x="39" y="37"/>
                      </a:moveTo>
                      <a:cubicBezTo>
                        <a:pt x="32" y="29"/>
                        <a:pt x="32" y="29"/>
                        <a:pt x="32" y="29"/>
                      </a:cubicBezTo>
                      <a:cubicBezTo>
                        <a:pt x="52" y="10"/>
                        <a:pt x="78" y="0"/>
                        <a:pt x="105" y="0"/>
                      </a:cubicBezTo>
                      <a:cubicBezTo>
                        <a:pt x="105" y="10"/>
                        <a:pt x="105" y="10"/>
                        <a:pt x="105" y="10"/>
                      </a:cubicBezTo>
                      <a:cubicBezTo>
                        <a:pt x="81" y="10"/>
                        <a:pt x="57" y="19"/>
                        <a:pt x="39" y="37"/>
                      </a:cubicBezTo>
                      <a:close/>
                    </a:path>
                  </a:pathLst>
                </a:custGeom>
                <a:solidFill>
                  <a:schemeClr val="dk1"/>
                </a:solidFill>
                <a:ln>
                  <a:noFill/>
                </a:ln>
              </p:spPr>
              <p:txBody>
                <a:bodyPr spcFirstLastPara="1" wrap="square" lIns="79125" tIns="39550" rIns="79125" bIns="3955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21" name="Google Shape;4998;p26">
                  <a:extLst>
                    <a:ext uri="{FF2B5EF4-FFF2-40B4-BE49-F238E27FC236}">
                      <a16:creationId xmlns:a16="http://schemas.microsoft.com/office/drawing/2014/main" id="{40637C8E-0700-08D9-382D-6E8594820B01}"/>
                    </a:ext>
                  </a:extLst>
                </p:cNvPr>
                <p:cNvSpPr/>
                <p:nvPr/>
              </p:nvSpPr>
              <p:spPr>
                <a:xfrm>
                  <a:off x="560387" y="4264026"/>
                  <a:ext cx="50800" cy="92075"/>
                </a:xfrm>
                <a:custGeom>
                  <a:avLst/>
                  <a:gdLst/>
                  <a:ahLst/>
                  <a:cxnLst/>
                  <a:rect l="l" t="t" r="r" b="b"/>
                  <a:pathLst>
                    <a:path w="51" h="92" extrusionOk="0">
                      <a:moveTo>
                        <a:pt x="5" y="92"/>
                      </a:moveTo>
                      <a:cubicBezTo>
                        <a:pt x="4" y="92"/>
                        <a:pt x="4" y="92"/>
                        <a:pt x="3" y="92"/>
                      </a:cubicBezTo>
                      <a:cubicBezTo>
                        <a:pt x="1" y="91"/>
                        <a:pt x="0" y="89"/>
                        <a:pt x="0" y="87"/>
                      </a:cubicBezTo>
                      <a:cubicBezTo>
                        <a:pt x="0" y="60"/>
                        <a:pt x="0" y="60"/>
                        <a:pt x="0" y="60"/>
                      </a:cubicBezTo>
                      <a:cubicBezTo>
                        <a:pt x="5" y="60"/>
                        <a:pt x="5" y="60"/>
                        <a:pt x="5" y="60"/>
                      </a:cubicBezTo>
                      <a:cubicBezTo>
                        <a:pt x="8" y="60"/>
                        <a:pt x="10" y="62"/>
                        <a:pt x="10" y="65"/>
                      </a:cubicBezTo>
                      <a:cubicBezTo>
                        <a:pt x="10" y="75"/>
                        <a:pt x="10" y="75"/>
                        <a:pt x="10" y="75"/>
                      </a:cubicBezTo>
                      <a:cubicBezTo>
                        <a:pt x="39" y="46"/>
                        <a:pt x="39" y="46"/>
                        <a:pt x="39" y="46"/>
                      </a:cubicBezTo>
                      <a:cubicBezTo>
                        <a:pt x="10" y="17"/>
                        <a:pt x="10" y="17"/>
                        <a:pt x="10" y="17"/>
                      </a:cubicBezTo>
                      <a:cubicBezTo>
                        <a:pt x="10" y="26"/>
                        <a:pt x="10" y="26"/>
                        <a:pt x="10" y="26"/>
                      </a:cubicBezTo>
                      <a:cubicBezTo>
                        <a:pt x="10" y="29"/>
                        <a:pt x="8" y="31"/>
                        <a:pt x="5" y="31"/>
                      </a:cubicBezTo>
                      <a:cubicBezTo>
                        <a:pt x="0" y="31"/>
                        <a:pt x="0" y="31"/>
                        <a:pt x="0" y="31"/>
                      </a:cubicBezTo>
                      <a:cubicBezTo>
                        <a:pt x="0" y="5"/>
                        <a:pt x="0" y="5"/>
                        <a:pt x="0" y="5"/>
                      </a:cubicBezTo>
                      <a:cubicBezTo>
                        <a:pt x="0" y="3"/>
                        <a:pt x="1" y="2"/>
                        <a:pt x="3" y="1"/>
                      </a:cubicBezTo>
                      <a:cubicBezTo>
                        <a:pt x="5" y="0"/>
                        <a:pt x="7" y="0"/>
                        <a:pt x="9" y="2"/>
                      </a:cubicBezTo>
                      <a:cubicBezTo>
                        <a:pt x="50" y="43"/>
                        <a:pt x="50" y="43"/>
                        <a:pt x="50" y="43"/>
                      </a:cubicBezTo>
                      <a:cubicBezTo>
                        <a:pt x="51" y="44"/>
                        <a:pt x="51" y="45"/>
                        <a:pt x="51" y="46"/>
                      </a:cubicBezTo>
                      <a:cubicBezTo>
                        <a:pt x="51" y="48"/>
                        <a:pt x="51" y="49"/>
                        <a:pt x="50" y="50"/>
                      </a:cubicBezTo>
                      <a:cubicBezTo>
                        <a:pt x="9" y="91"/>
                        <a:pt x="9" y="91"/>
                        <a:pt x="9" y="91"/>
                      </a:cubicBezTo>
                      <a:cubicBezTo>
                        <a:pt x="8" y="92"/>
                        <a:pt x="6" y="92"/>
                        <a:pt x="5" y="92"/>
                      </a:cubicBezTo>
                      <a:close/>
                    </a:path>
                  </a:pathLst>
                </a:custGeom>
                <a:solidFill>
                  <a:schemeClr val="dk1"/>
                </a:solidFill>
                <a:ln>
                  <a:noFill/>
                </a:ln>
              </p:spPr>
              <p:txBody>
                <a:bodyPr spcFirstLastPara="1" wrap="square" lIns="79125" tIns="39550" rIns="79125" bIns="3955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sp>
              <p:nvSpPr>
                <p:cNvPr id="122" name="Google Shape;4999;p26">
                  <a:extLst>
                    <a:ext uri="{FF2B5EF4-FFF2-40B4-BE49-F238E27FC236}">
                      <a16:creationId xmlns:a16="http://schemas.microsoft.com/office/drawing/2014/main" id="{31E9BE6B-DFAA-0381-5B4C-504ECEFA92F9}"/>
                    </a:ext>
                  </a:extLst>
                </p:cNvPr>
                <p:cNvSpPr/>
                <p:nvPr/>
              </p:nvSpPr>
              <p:spPr>
                <a:xfrm>
                  <a:off x="596900" y="4387851"/>
                  <a:ext cx="93663" cy="50800"/>
                </a:xfrm>
                <a:custGeom>
                  <a:avLst/>
                  <a:gdLst/>
                  <a:ahLst/>
                  <a:cxnLst/>
                  <a:rect l="l" t="t" r="r" b="b"/>
                  <a:pathLst>
                    <a:path w="93" h="51" extrusionOk="0">
                      <a:moveTo>
                        <a:pt x="47" y="51"/>
                      </a:moveTo>
                      <a:cubicBezTo>
                        <a:pt x="46" y="51"/>
                        <a:pt x="44" y="51"/>
                        <a:pt x="43" y="50"/>
                      </a:cubicBezTo>
                      <a:cubicBezTo>
                        <a:pt x="2" y="9"/>
                        <a:pt x="2" y="9"/>
                        <a:pt x="2" y="9"/>
                      </a:cubicBezTo>
                      <a:cubicBezTo>
                        <a:pt x="1" y="8"/>
                        <a:pt x="0" y="5"/>
                        <a:pt x="1" y="4"/>
                      </a:cubicBezTo>
                      <a:cubicBezTo>
                        <a:pt x="2" y="2"/>
                        <a:pt x="4" y="0"/>
                        <a:pt x="6" y="0"/>
                      </a:cubicBezTo>
                      <a:cubicBezTo>
                        <a:pt x="33" y="1"/>
                        <a:pt x="33" y="1"/>
                        <a:pt x="33" y="1"/>
                      </a:cubicBezTo>
                      <a:cubicBezTo>
                        <a:pt x="33" y="5"/>
                        <a:pt x="33" y="5"/>
                        <a:pt x="33" y="5"/>
                      </a:cubicBezTo>
                      <a:cubicBezTo>
                        <a:pt x="33" y="7"/>
                        <a:pt x="33" y="8"/>
                        <a:pt x="32" y="9"/>
                      </a:cubicBezTo>
                      <a:cubicBezTo>
                        <a:pt x="31" y="10"/>
                        <a:pt x="30" y="10"/>
                        <a:pt x="28" y="10"/>
                      </a:cubicBezTo>
                      <a:cubicBezTo>
                        <a:pt x="18" y="10"/>
                        <a:pt x="18" y="10"/>
                        <a:pt x="18" y="10"/>
                      </a:cubicBezTo>
                      <a:cubicBezTo>
                        <a:pt x="47" y="39"/>
                        <a:pt x="47" y="39"/>
                        <a:pt x="47" y="39"/>
                      </a:cubicBezTo>
                      <a:cubicBezTo>
                        <a:pt x="76" y="10"/>
                        <a:pt x="76" y="10"/>
                        <a:pt x="76" y="10"/>
                      </a:cubicBezTo>
                      <a:cubicBezTo>
                        <a:pt x="67" y="10"/>
                        <a:pt x="67" y="10"/>
                        <a:pt x="67" y="10"/>
                      </a:cubicBezTo>
                      <a:cubicBezTo>
                        <a:pt x="65" y="10"/>
                        <a:pt x="62" y="8"/>
                        <a:pt x="62" y="5"/>
                      </a:cubicBezTo>
                      <a:cubicBezTo>
                        <a:pt x="62" y="1"/>
                        <a:pt x="62" y="1"/>
                        <a:pt x="62" y="1"/>
                      </a:cubicBezTo>
                      <a:cubicBezTo>
                        <a:pt x="88" y="0"/>
                        <a:pt x="88" y="0"/>
                        <a:pt x="88" y="0"/>
                      </a:cubicBezTo>
                      <a:cubicBezTo>
                        <a:pt x="90" y="0"/>
                        <a:pt x="92" y="2"/>
                        <a:pt x="92" y="4"/>
                      </a:cubicBezTo>
                      <a:cubicBezTo>
                        <a:pt x="93" y="5"/>
                        <a:pt x="93" y="8"/>
                        <a:pt x="91" y="9"/>
                      </a:cubicBezTo>
                      <a:cubicBezTo>
                        <a:pt x="50" y="50"/>
                        <a:pt x="50" y="50"/>
                        <a:pt x="50" y="50"/>
                      </a:cubicBezTo>
                      <a:cubicBezTo>
                        <a:pt x="49" y="51"/>
                        <a:pt x="48" y="51"/>
                        <a:pt x="47" y="51"/>
                      </a:cubicBezTo>
                      <a:close/>
                    </a:path>
                  </a:pathLst>
                </a:custGeom>
                <a:solidFill>
                  <a:schemeClr val="dk1"/>
                </a:solidFill>
                <a:ln>
                  <a:noFill/>
                </a:ln>
              </p:spPr>
              <p:txBody>
                <a:bodyPr spcFirstLastPara="1" wrap="square" lIns="79125" tIns="39550" rIns="79125" bIns="3955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400" b="1" i="0" u="none" strike="noStrike" kern="120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endParaRPr>
                </a:p>
              </p:txBody>
            </p:sp>
          </p:grpSp>
        </p:grpSp>
        <p:sp>
          <p:nvSpPr>
            <p:cNvPr id="123" name="TextBox 122">
              <a:extLst>
                <a:ext uri="{FF2B5EF4-FFF2-40B4-BE49-F238E27FC236}">
                  <a16:creationId xmlns:a16="http://schemas.microsoft.com/office/drawing/2014/main" id="{5055A556-13CD-8704-E1AB-5DBD2D69933C}"/>
                </a:ext>
              </a:extLst>
            </p:cNvPr>
            <p:cNvSpPr txBox="1"/>
            <p:nvPr/>
          </p:nvSpPr>
          <p:spPr>
            <a:xfrm>
              <a:off x="6872553" y="1972637"/>
              <a:ext cx="373895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Local authorities and social housing providers</a:t>
              </a:r>
            </a:p>
          </p:txBody>
        </p:sp>
        <p:pic>
          <p:nvPicPr>
            <p:cNvPr id="124" name="Picture 6" descr="Surrey County Council - Wikipedia">
              <a:extLst>
                <a:ext uri="{FF2B5EF4-FFF2-40B4-BE49-F238E27FC236}">
                  <a16:creationId xmlns:a16="http://schemas.microsoft.com/office/drawing/2014/main" id="{9027613E-B17C-8E0E-B30A-EC8A86BC3F4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30431" y="2922094"/>
              <a:ext cx="453434" cy="34722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0" descr="West Sussex County Council - Wikipedia">
              <a:extLst>
                <a:ext uri="{FF2B5EF4-FFF2-40B4-BE49-F238E27FC236}">
                  <a16:creationId xmlns:a16="http://schemas.microsoft.com/office/drawing/2014/main" id="{251A4ADA-D5BC-7E12-A61E-3DC6CE946F6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27729" y="2967795"/>
              <a:ext cx="356690" cy="21984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Demountable UKPN Transformer Blast Barriers: Invicta">
              <a:extLst>
                <a:ext uri="{FF2B5EF4-FFF2-40B4-BE49-F238E27FC236}">
                  <a16:creationId xmlns:a16="http://schemas.microsoft.com/office/drawing/2014/main" id="{D80BFD83-F5FE-8902-6277-B6A5F838D04C}"/>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95533" y="3800094"/>
              <a:ext cx="1210065" cy="453785"/>
            </a:xfrm>
            <a:prstGeom prst="rect">
              <a:avLst/>
            </a:prstGeom>
            <a:noFill/>
            <a:extLst>
              <a:ext uri="{909E8E84-426E-40DD-AFC4-6F175D3DCCD1}">
                <a14:hiddenFill xmlns:a14="http://schemas.microsoft.com/office/drawing/2010/main">
                  <a:solidFill>
                    <a:srgbClr val="FFFFFF"/>
                  </a:solidFill>
                </a14:hiddenFill>
              </a:ext>
            </a:extLst>
          </p:spPr>
        </p:pic>
        <p:sp>
          <p:nvSpPr>
            <p:cNvPr id="127" name="Oval 126">
              <a:extLst>
                <a:ext uri="{FF2B5EF4-FFF2-40B4-BE49-F238E27FC236}">
                  <a16:creationId xmlns:a16="http://schemas.microsoft.com/office/drawing/2014/main" id="{2A108889-CCF3-F378-FC94-E14E2061EE2B}"/>
                </a:ext>
              </a:extLst>
            </p:cNvPr>
            <p:cNvSpPr>
              <a:spLocks noChangeAspect="1" noChangeArrowheads="1"/>
            </p:cNvSpPr>
            <p:nvPr/>
          </p:nvSpPr>
          <p:spPr bwMode="auto">
            <a:xfrm>
              <a:off x="8410878" y="2292514"/>
              <a:ext cx="626440" cy="617098"/>
            </a:xfrm>
            <a:prstGeom prst="ellipse">
              <a:avLst/>
            </a:prstGeom>
            <a:solidFill>
              <a:srgbClr val="BD281E"/>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11BA6D1E-9154-A66A-A879-06E5CB9F15A0}"/>
                </a:ext>
              </a:extLst>
            </p:cNvPr>
            <p:cNvSpPr txBox="1"/>
            <p:nvPr/>
          </p:nvSpPr>
          <p:spPr>
            <a:xfrm>
              <a:off x="9843140" y="2380744"/>
              <a:ext cx="21019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tx1">
                      <a:lumMod val="85000"/>
                      <a:lumOff val="15000"/>
                    </a:schemeClr>
                  </a:solidFill>
                  <a:effectLst/>
                  <a:uLnTx/>
                  <a:uFillTx/>
                  <a:latin typeface="Arial" panose="020B0604020202020204" pitchFamily="34" charset="0"/>
                  <a:cs typeface="Arial" panose="020B0604020202020204" pitchFamily="34" charset="0"/>
                </a:rPr>
                <a:t>DSOs</a:t>
              </a:r>
            </a:p>
          </p:txBody>
        </p:sp>
        <p:sp>
          <p:nvSpPr>
            <p:cNvPr id="130" name="Oval 129">
              <a:extLst>
                <a:ext uri="{FF2B5EF4-FFF2-40B4-BE49-F238E27FC236}">
                  <a16:creationId xmlns:a16="http://schemas.microsoft.com/office/drawing/2014/main" id="{F5631AC6-386E-E909-6A67-0FB3EF60A296}"/>
                </a:ext>
              </a:extLst>
            </p:cNvPr>
            <p:cNvSpPr>
              <a:spLocks noChangeAspect="1" noChangeArrowheads="1"/>
            </p:cNvSpPr>
            <p:nvPr/>
          </p:nvSpPr>
          <p:spPr bwMode="auto">
            <a:xfrm>
              <a:off x="9222687" y="2465870"/>
              <a:ext cx="626440" cy="617098"/>
            </a:xfrm>
            <a:prstGeom prst="ellipse">
              <a:avLst/>
            </a:prstGeom>
            <a:solidFill>
              <a:srgbClr val="BD281E"/>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31" name="Oval 130">
              <a:extLst>
                <a:ext uri="{FF2B5EF4-FFF2-40B4-BE49-F238E27FC236}">
                  <a16:creationId xmlns:a16="http://schemas.microsoft.com/office/drawing/2014/main" id="{276C87DF-97CB-D082-D4C5-BACF486ABA4E}"/>
                </a:ext>
              </a:extLst>
            </p:cNvPr>
            <p:cNvSpPr>
              <a:spLocks noChangeAspect="1" noChangeArrowheads="1"/>
            </p:cNvSpPr>
            <p:nvPr/>
          </p:nvSpPr>
          <p:spPr bwMode="auto">
            <a:xfrm>
              <a:off x="9834275" y="2946410"/>
              <a:ext cx="626440" cy="617098"/>
            </a:xfrm>
            <a:prstGeom prst="ellipse">
              <a:avLst/>
            </a:prstGeom>
            <a:solidFill>
              <a:schemeClr val="accent2"/>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pic>
          <p:nvPicPr>
            <p:cNvPr id="132" name="Graphic 131" descr="House with solid fill">
              <a:extLst>
                <a:ext uri="{FF2B5EF4-FFF2-40B4-BE49-F238E27FC236}">
                  <a16:creationId xmlns:a16="http://schemas.microsoft.com/office/drawing/2014/main" id="{4B34D695-17A5-5285-E411-81E74D23F01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483454" y="2312116"/>
              <a:ext cx="496617" cy="478892"/>
            </a:xfrm>
            <a:prstGeom prst="rect">
              <a:avLst/>
            </a:prstGeom>
          </p:spPr>
        </p:pic>
        <p:sp>
          <p:nvSpPr>
            <p:cNvPr id="133" name="TextBox 132">
              <a:extLst>
                <a:ext uri="{FF2B5EF4-FFF2-40B4-BE49-F238E27FC236}">
                  <a16:creationId xmlns:a16="http://schemas.microsoft.com/office/drawing/2014/main" id="{660F5279-D741-FD48-1171-504AE6C5BD18}"/>
                </a:ext>
              </a:extLst>
            </p:cNvPr>
            <p:cNvSpPr txBox="1"/>
            <p:nvPr/>
          </p:nvSpPr>
          <p:spPr>
            <a:xfrm>
              <a:off x="5442899" y="2398990"/>
              <a:ext cx="210192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Energy Management Companies</a:t>
              </a:r>
            </a:p>
          </p:txBody>
        </p:sp>
        <p:pic>
          <p:nvPicPr>
            <p:cNvPr id="134" name="Graphic 133" descr="Clipboard with solid fill">
              <a:extLst>
                <a:ext uri="{FF2B5EF4-FFF2-40B4-BE49-F238E27FC236}">
                  <a16:creationId xmlns:a16="http://schemas.microsoft.com/office/drawing/2014/main" id="{16C15A2E-DDBD-B115-58F3-A0C9A8F0FA7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599620" y="2506918"/>
              <a:ext cx="532679" cy="532679"/>
            </a:xfrm>
            <a:prstGeom prst="rect">
              <a:avLst/>
            </a:prstGeom>
          </p:spPr>
        </p:pic>
        <p:pic>
          <p:nvPicPr>
            <p:cNvPr id="135" name="Graphic 134" descr="Electric Tower with solid fill">
              <a:extLst>
                <a:ext uri="{FF2B5EF4-FFF2-40B4-BE49-F238E27FC236}">
                  <a16:creationId xmlns:a16="http://schemas.microsoft.com/office/drawing/2014/main" id="{F95F4C67-386F-3375-0E63-2D091FF2597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283098" y="2506878"/>
              <a:ext cx="490514" cy="490514"/>
            </a:xfrm>
            <a:prstGeom prst="rect">
              <a:avLst/>
            </a:prstGeom>
          </p:spPr>
        </p:pic>
        <p:pic>
          <p:nvPicPr>
            <p:cNvPr id="136" name="Graphic 135" descr="Bank with solid fill">
              <a:extLst>
                <a:ext uri="{FF2B5EF4-FFF2-40B4-BE49-F238E27FC236}">
                  <a16:creationId xmlns:a16="http://schemas.microsoft.com/office/drawing/2014/main" id="{85832B54-2021-2631-11C8-2CBBAF27D8E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03058" y="4574898"/>
              <a:ext cx="451578" cy="451578"/>
            </a:xfrm>
            <a:prstGeom prst="rect">
              <a:avLst/>
            </a:prstGeom>
          </p:spPr>
        </p:pic>
        <p:sp>
          <p:nvSpPr>
            <p:cNvPr id="137" name="TextBox 136">
              <a:extLst>
                <a:ext uri="{FF2B5EF4-FFF2-40B4-BE49-F238E27FC236}">
                  <a16:creationId xmlns:a16="http://schemas.microsoft.com/office/drawing/2014/main" id="{A087AB4B-6831-22D6-0D0C-FABB8899D41C}"/>
                </a:ext>
              </a:extLst>
            </p:cNvPr>
            <p:cNvSpPr txBox="1"/>
            <p:nvPr/>
          </p:nvSpPr>
          <p:spPr>
            <a:xfrm>
              <a:off x="6168793" y="5597231"/>
              <a:ext cx="1078297" cy="6001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Community Energy Groups</a:t>
              </a:r>
            </a:p>
          </p:txBody>
        </p:sp>
        <p:pic>
          <p:nvPicPr>
            <p:cNvPr id="138" name="Graphic 137" descr="Users outline">
              <a:extLst>
                <a:ext uri="{FF2B5EF4-FFF2-40B4-BE49-F238E27FC236}">
                  <a16:creationId xmlns:a16="http://schemas.microsoft.com/office/drawing/2014/main" id="{EDA7042F-81D9-7AFF-F9AB-6EB6BED6DFA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915673" y="3030196"/>
              <a:ext cx="462182" cy="462182"/>
            </a:xfrm>
            <a:prstGeom prst="rect">
              <a:avLst/>
            </a:prstGeom>
          </p:spPr>
        </p:pic>
      </p:grpSp>
      <p:sp>
        <p:nvSpPr>
          <p:cNvPr id="140" name="TextBox 139">
            <a:extLst>
              <a:ext uri="{FF2B5EF4-FFF2-40B4-BE49-F238E27FC236}">
                <a16:creationId xmlns:a16="http://schemas.microsoft.com/office/drawing/2014/main" id="{B138AA09-3D11-C652-86D9-0AC68E5F1D96}"/>
              </a:ext>
            </a:extLst>
          </p:cNvPr>
          <p:cNvSpPr txBox="1"/>
          <p:nvPr/>
        </p:nvSpPr>
        <p:spPr>
          <a:xfrm>
            <a:off x="526846" y="1056319"/>
            <a:ext cx="11064995" cy="584775"/>
          </a:xfrm>
          <a:prstGeom prst="rect">
            <a:avLst/>
          </a:prstGeom>
          <a:noFill/>
        </p:spPr>
        <p:txBody>
          <a:bodyPr wrap="square">
            <a:spAutoFit/>
          </a:bodyPr>
          <a:lstStyle/>
          <a:p>
            <a:pPr lvl="0" defTabSz="1219170">
              <a:buClr>
                <a:srgbClr val="000000"/>
              </a:buClr>
              <a:defRPr/>
            </a:pPr>
            <a:r>
              <a:rPr lang="en-GB" sz="1600" b="1" kern="0" dirty="0">
                <a:solidFill>
                  <a:schemeClr val="bg2">
                    <a:lumMod val="25000"/>
                  </a:schemeClr>
                </a:solidFill>
                <a:latin typeface="Arial" panose="020B0604020202020204" pitchFamily="34" charset="0"/>
                <a:cs typeface="Arial" panose="020B0604020202020204" pitchFamily="34" charset="0"/>
                <a:sym typeface="Arial"/>
              </a:rPr>
              <a:t>Key stakeholders across the energy efficiency and flexibility were mapped to determine whose business needs and likely level of influence could lead to favourable outcomes for Flex Direct</a:t>
            </a:r>
            <a:endParaRPr kumimoji="0" lang="en-GB" sz="1600" b="1" i="0" u="none" strike="noStrike" kern="0" cap="none" spc="0" normalizeH="0" baseline="0" noProof="0" dirty="0">
              <a:ln>
                <a:noFill/>
              </a:ln>
              <a:solidFill>
                <a:schemeClr val="bg2">
                  <a:lumMod val="25000"/>
                </a:schemeClr>
              </a:solidFill>
              <a:effectLst/>
              <a:uLnTx/>
              <a:uFillTx/>
              <a:latin typeface="Arial" panose="020B0604020202020204" pitchFamily="34" charset="0"/>
              <a:cs typeface="Arial" panose="020B0604020202020204" pitchFamily="34" charset="0"/>
              <a:sym typeface="Arial"/>
            </a:endParaRPr>
          </a:p>
        </p:txBody>
      </p:sp>
      <p:grpSp>
        <p:nvGrpSpPr>
          <p:cNvPr id="149" name="Group 148">
            <a:extLst>
              <a:ext uri="{FF2B5EF4-FFF2-40B4-BE49-F238E27FC236}">
                <a16:creationId xmlns:a16="http://schemas.microsoft.com/office/drawing/2014/main" id="{69B3BA3D-A604-213E-3D12-0B6A2B49D68E}"/>
              </a:ext>
            </a:extLst>
          </p:cNvPr>
          <p:cNvGrpSpPr/>
          <p:nvPr/>
        </p:nvGrpSpPr>
        <p:grpSpPr>
          <a:xfrm>
            <a:off x="1141084" y="5882486"/>
            <a:ext cx="3892097" cy="507549"/>
            <a:chOff x="1146643" y="5945677"/>
            <a:chExt cx="3892097" cy="507549"/>
          </a:xfrm>
        </p:grpSpPr>
        <p:grpSp>
          <p:nvGrpSpPr>
            <p:cNvPr id="147" name="Group 146">
              <a:extLst>
                <a:ext uri="{FF2B5EF4-FFF2-40B4-BE49-F238E27FC236}">
                  <a16:creationId xmlns:a16="http://schemas.microsoft.com/office/drawing/2014/main" id="{AADA84F0-2F45-1CB8-B708-E5E01660458D}"/>
                </a:ext>
              </a:extLst>
            </p:cNvPr>
            <p:cNvGrpSpPr/>
            <p:nvPr/>
          </p:nvGrpSpPr>
          <p:grpSpPr>
            <a:xfrm>
              <a:off x="1146643" y="6176227"/>
              <a:ext cx="3892097" cy="276999"/>
              <a:chOff x="747915" y="5950547"/>
              <a:chExt cx="3892097" cy="276999"/>
            </a:xfrm>
          </p:grpSpPr>
          <p:sp>
            <p:nvSpPr>
              <p:cNvPr id="143" name="TextBox 142">
                <a:extLst>
                  <a:ext uri="{FF2B5EF4-FFF2-40B4-BE49-F238E27FC236}">
                    <a16:creationId xmlns:a16="http://schemas.microsoft.com/office/drawing/2014/main" id="{F2786DE0-746D-391E-145C-A9D13FB15AC7}"/>
                  </a:ext>
                </a:extLst>
              </p:cNvPr>
              <p:cNvSpPr txBox="1"/>
              <p:nvPr/>
            </p:nvSpPr>
            <p:spPr>
              <a:xfrm>
                <a:off x="747915" y="5950547"/>
                <a:ext cx="3892097" cy="276999"/>
              </a:xfrm>
              <a:prstGeom prst="rect">
                <a:avLst/>
              </a:prstGeom>
              <a:noFill/>
            </p:spPr>
            <p:txBody>
              <a:bodyPr wrap="square" rtlCol="0">
                <a:spAutoFit/>
              </a:bodyPr>
              <a:lstStyle/>
              <a:p>
                <a:r>
                  <a:rPr lang="en-GB" sz="1200" b="1" dirty="0">
                    <a:solidFill>
                      <a:schemeClr val="tx1">
                        <a:lumMod val="50000"/>
                        <a:lumOff val="50000"/>
                      </a:schemeClr>
                    </a:solidFill>
                    <a:latin typeface="Arial" panose="020B0604020202020204" pitchFamily="34" charset="0"/>
                    <a:cs typeface="Arial" panose="020B0604020202020204" pitchFamily="34" charset="0"/>
                  </a:rPr>
                  <a:t> Tier 1:           Tier 2:            Tier 3:    </a:t>
                </a:r>
              </a:p>
            </p:txBody>
          </p:sp>
          <p:sp>
            <p:nvSpPr>
              <p:cNvPr id="144" name="Rectangle 143">
                <a:extLst>
                  <a:ext uri="{FF2B5EF4-FFF2-40B4-BE49-F238E27FC236}">
                    <a16:creationId xmlns:a16="http://schemas.microsoft.com/office/drawing/2014/main" id="{EEB3B1C6-C9DC-47A9-8B31-EA7AF289EF2A}"/>
                  </a:ext>
                </a:extLst>
              </p:cNvPr>
              <p:cNvSpPr/>
              <p:nvPr/>
            </p:nvSpPr>
            <p:spPr>
              <a:xfrm>
                <a:off x="1390081" y="6014828"/>
                <a:ext cx="317671" cy="179214"/>
              </a:xfrm>
              <a:prstGeom prst="rect">
                <a:avLst/>
              </a:prstGeom>
              <a:solidFill>
                <a:srgbClr val="BD28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5" name="Rectangle 144">
                <a:extLst>
                  <a:ext uri="{FF2B5EF4-FFF2-40B4-BE49-F238E27FC236}">
                    <a16:creationId xmlns:a16="http://schemas.microsoft.com/office/drawing/2014/main" id="{E559E2B5-0166-2D1D-F0AB-75B35AD83D97}"/>
                  </a:ext>
                </a:extLst>
              </p:cNvPr>
              <p:cNvSpPr/>
              <p:nvPr/>
            </p:nvSpPr>
            <p:spPr>
              <a:xfrm>
                <a:off x="2336523" y="6014828"/>
                <a:ext cx="317671" cy="179214"/>
              </a:xfrm>
              <a:prstGeom prst="rect">
                <a:avLst/>
              </a:prstGeom>
              <a:solidFill>
                <a:srgbClr val="ED7D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1C609AB1-AF5A-A68D-CD3C-1ACE602A92AA}"/>
                  </a:ext>
                </a:extLst>
              </p:cNvPr>
              <p:cNvSpPr/>
              <p:nvPr/>
            </p:nvSpPr>
            <p:spPr>
              <a:xfrm>
                <a:off x="3273729" y="6014828"/>
                <a:ext cx="317671" cy="179214"/>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grpSp>
        <p:sp>
          <p:nvSpPr>
            <p:cNvPr id="148" name="TextBox 147">
              <a:extLst>
                <a:ext uri="{FF2B5EF4-FFF2-40B4-BE49-F238E27FC236}">
                  <a16:creationId xmlns:a16="http://schemas.microsoft.com/office/drawing/2014/main" id="{01C76363-E9DB-4D8F-BC65-161B2C380B56}"/>
                </a:ext>
              </a:extLst>
            </p:cNvPr>
            <p:cNvSpPr txBox="1"/>
            <p:nvPr/>
          </p:nvSpPr>
          <p:spPr>
            <a:xfrm>
              <a:off x="2359644" y="5945677"/>
              <a:ext cx="591827" cy="307777"/>
            </a:xfrm>
            <a:prstGeom prst="rect">
              <a:avLst/>
            </a:prstGeom>
            <a:noFill/>
          </p:spPr>
          <p:txBody>
            <a:bodyPr wrap="square" rtlCol="0">
              <a:spAutoFit/>
            </a:bodyPr>
            <a:lstStyle/>
            <a:p>
              <a:r>
                <a:rPr lang="en-GB" sz="1400" b="1">
                  <a:latin typeface="Arial" panose="020B0604020202020204" pitchFamily="34" charset="0"/>
                  <a:cs typeface="Arial" panose="020B0604020202020204" pitchFamily="34" charset="0"/>
                </a:rPr>
                <a:t>KEY </a:t>
              </a:r>
            </a:p>
          </p:txBody>
        </p:sp>
      </p:grpSp>
      <p:pic>
        <p:nvPicPr>
          <p:cNvPr id="5" name="Picture 4" descr="Sia Partners Introduces SiaGPT | Business Wire">
            <a:extLst>
              <a:ext uri="{FF2B5EF4-FFF2-40B4-BE49-F238E27FC236}">
                <a16:creationId xmlns:a16="http://schemas.microsoft.com/office/drawing/2014/main" id="{8BB23535-3289-4D31-9DD8-3C68EA6DFFD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SEN calls for festive spirit to help identify vulnerable customers - The  Orcadian Online">
            <a:extLst>
              <a:ext uri="{FF2B5EF4-FFF2-40B4-BE49-F238E27FC236}">
                <a16:creationId xmlns:a16="http://schemas.microsoft.com/office/drawing/2014/main" id="{9831A9B8-F3C6-805C-D81E-79897AFBCD62}"/>
              </a:ext>
            </a:extLst>
          </p:cNvPr>
          <p:cNvPicPr>
            <a:picLocks noChangeAspect="1" noChangeArrowheads="1"/>
          </p:cNvPicPr>
          <p:nvPr/>
        </p:nvPicPr>
        <p:blipFill rotWithShape="1">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rcRect l="10719" t="36153" r="11109" b="34470"/>
          <a:stretch/>
        </p:blipFill>
        <p:spPr bwMode="auto">
          <a:xfrm>
            <a:off x="9009418" y="2906552"/>
            <a:ext cx="567286" cy="1421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tilita Energy | The UK's number one Pay As You Go energy supplier">
            <a:extLst>
              <a:ext uri="{FF2B5EF4-FFF2-40B4-BE49-F238E27FC236}">
                <a16:creationId xmlns:a16="http://schemas.microsoft.com/office/drawing/2014/main" id="{B841BD61-ECC6-BA46-534C-CD01FB3DBCA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301798" y="3345131"/>
            <a:ext cx="737263" cy="291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4447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142" name="Rectangle 141">
            <a:extLst>
              <a:ext uri="{FF2B5EF4-FFF2-40B4-BE49-F238E27FC236}">
                <a16:creationId xmlns:a16="http://schemas.microsoft.com/office/drawing/2014/main" id="{A0DA6425-6DC0-6D2B-59A5-F934DFD887F5}"/>
              </a:ext>
            </a:extLst>
          </p:cNvPr>
          <p:cNvSpPr/>
          <p:nvPr/>
        </p:nvSpPr>
        <p:spPr>
          <a:xfrm>
            <a:off x="9286520" y="4965882"/>
            <a:ext cx="2825340" cy="15481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a:bodyPr>
          <a:lstStyle/>
          <a:p>
            <a:r>
              <a:rPr lang="en-GB" sz="2800" dirty="0"/>
              <a:t>Work Package 3: Stakeholder Prioritisation</a:t>
            </a:r>
          </a:p>
        </p:txBody>
      </p:sp>
      <p:sp>
        <p:nvSpPr>
          <p:cNvPr id="4" name="Rectangle: Rounded Corners 3">
            <a:extLst>
              <a:ext uri="{FF2B5EF4-FFF2-40B4-BE49-F238E27FC236}">
                <a16:creationId xmlns:a16="http://schemas.microsoft.com/office/drawing/2014/main" id="{A80AECCB-2D95-7899-BF77-D75CA9384726}"/>
              </a:ext>
            </a:extLst>
          </p:cNvPr>
          <p:cNvSpPr/>
          <p:nvPr/>
        </p:nvSpPr>
        <p:spPr>
          <a:xfrm>
            <a:off x="4128231" y="5163374"/>
            <a:ext cx="7418942" cy="1175122"/>
          </a:xfrm>
          <a:prstGeom prst="roundRect">
            <a:avLst>
              <a:gd name="adj" fmla="val 13193"/>
            </a:avLst>
          </a:prstGeom>
          <a:solidFill>
            <a:schemeClr val="accent4">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grpSp>
        <p:nvGrpSpPr>
          <p:cNvPr id="5" name="Group 96">
            <a:extLst>
              <a:ext uri="{FF2B5EF4-FFF2-40B4-BE49-F238E27FC236}">
                <a16:creationId xmlns:a16="http://schemas.microsoft.com/office/drawing/2014/main" id="{3F392620-7C76-4FCE-1847-3566F1157B2E}"/>
              </a:ext>
            </a:extLst>
          </p:cNvPr>
          <p:cNvGrpSpPr/>
          <p:nvPr/>
        </p:nvGrpSpPr>
        <p:grpSpPr>
          <a:xfrm flipH="1">
            <a:off x="1621365" y="4047475"/>
            <a:ext cx="1595715" cy="72000"/>
            <a:chOff x="3379810" y="2057938"/>
            <a:chExt cx="2243234" cy="101446"/>
          </a:xfrm>
          <a:solidFill>
            <a:srgbClr val="F4F4F4"/>
          </a:solidFill>
        </p:grpSpPr>
        <p:sp>
          <p:nvSpPr>
            <p:cNvPr id="6" name="Oval 97">
              <a:extLst>
                <a:ext uri="{FF2B5EF4-FFF2-40B4-BE49-F238E27FC236}">
                  <a16:creationId xmlns:a16="http://schemas.microsoft.com/office/drawing/2014/main" id="{34BE35F2-8A2B-1E53-8C16-744C63D7FA86}"/>
                </a:ext>
              </a:extLst>
            </p:cNvPr>
            <p:cNvSpPr/>
            <p:nvPr/>
          </p:nvSpPr>
          <p:spPr>
            <a:xfrm>
              <a:off x="3379810" y="2057938"/>
              <a:ext cx="101217" cy="101446"/>
            </a:xfrm>
            <a:prstGeom prst="ellipse">
              <a:avLst/>
            </a:prstGeom>
            <a:noFill/>
            <a:ln w="2540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cxnSp>
          <p:nvCxnSpPr>
            <p:cNvPr id="8" name="Straight Arrow Connector 98">
              <a:extLst>
                <a:ext uri="{FF2B5EF4-FFF2-40B4-BE49-F238E27FC236}">
                  <a16:creationId xmlns:a16="http://schemas.microsoft.com/office/drawing/2014/main" id="{2A2099A5-5F6C-8D72-50B3-059F578A86AE}"/>
                </a:ext>
              </a:extLst>
            </p:cNvPr>
            <p:cNvCxnSpPr>
              <a:cxnSpLocks/>
              <a:stCxn id="6" idx="6"/>
            </p:cNvCxnSpPr>
            <p:nvPr/>
          </p:nvCxnSpPr>
          <p:spPr>
            <a:xfrm>
              <a:off x="3481027" y="2108661"/>
              <a:ext cx="2142017" cy="8142"/>
            </a:xfrm>
            <a:prstGeom prst="straightConnector1">
              <a:avLst/>
            </a:prstGeom>
            <a:grpFill/>
            <a:ln w="12700" cap="flat" cmpd="sng" algn="ctr">
              <a:solidFill>
                <a:schemeClr val="accent2"/>
              </a:solidFill>
              <a:prstDash val="solid"/>
              <a:headEnd type="none" w="med" len="med"/>
              <a:tailEnd type="none" w="med" len="med"/>
            </a:ln>
            <a:effectLst/>
          </p:spPr>
        </p:cxnSp>
      </p:grpSp>
      <p:sp>
        <p:nvSpPr>
          <p:cNvPr id="9" name="Rectangle: Rounded Corners 8">
            <a:extLst>
              <a:ext uri="{FF2B5EF4-FFF2-40B4-BE49-F238E27FC236}">
                <a16:creationId xmlns:a16="http://schemas.microsoft.com/office/drawing/2014/main" id="{F2A847F5-76A6-DB8D-0FBA-E6C8900A5959}"/>
              </a:ext>
            </a:extLst>
          </p:cNvPr>
          <p:cNvSpPr/>
          <p:nvPr/>
        </p:nvSpPr>
        <p:spPr>
          <a:xfrm>
            <a:off x="2601027" y="1916708"/>
            <a:ext cx="8991667" cy="1499691"/>
          </a:xfrm>
          <a:prstGeom prst="roundRect">
            <a:avLst>
              <a:gd name="adj" fmla="val 13193"/>
            </a:avLst>
          </a:prstGeom>
          <a:solidFill>
            <a:srgbClr val="FFC5C5"/>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C98A8EFF-D5AF-7175-920B-8C69F8CE5FF3}"/>
              </a:ext>
            </a:extLst>
          </p:cNvPr>
          <p:cNvSpPr/>
          <p:nvPr/>
        </p:nvSpPr>
        <p:spPr>
          <a:xfrm>
            <a:off x="3375120" y="3613029"/>
            <a:ext cx="8172715" cy="1320312"/>
          </a:xfrm>
          <a:prstGeom prst="roundRect">
            <a:avLst>
              <a:gd name="adj" fmla="val 13193"/>
            </a:avLst>
          </a:prstGeom>
          <a:solidFill>
            <a:srgbClr val="F8CBAD"/>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grpSp>
        <p:nvGrpSpPr>
          <p:cNvPr id="35" name="Group 96">
            <a:extLst>
              <a:ext uri="{FF2B5EF4-FFF2-40B4-BE49-F238E27FC236}">
                <a16:creationId xmlns:a16="http://schemas.microsoft.com/office/drawing/2014/main" id="{93D2B856-B0A2-7F58-72CF-DBC6DF4EEC00}"/>
              </a:ext>
            </a:extLst>
          </p:cNvPr>
          <p:cNvGrpSpPr/>
          <p:nvPr/>
        </p:nvGrpSpPr>
        <p:grpSpPr>
          <a:xfrm flipH="1">
            <a:off x="2048567" y="5600417"/>
            <a:ext cx="1846470" cy="72000"/>
            <a:chOff x="3394113" y="2057938"/>
            <a:chExt cx="2228931" cy="101446"/>
          </a:xfrm>
        </p:grpSpPr>
        <p:sp>
          <p:nvSpPr>
            <p:cNvPr id="36" name="Oval 97">
              <a:extLst>
                <a:ext uri="{FF2B5EF4-FFF2-40B4-BE49-F238E27FC236}">
                  <a16:creationId xmlns:a16="http://schemas.microsoft.com/office/drawing/2014/main" id="{E7A417BB-7077-3792-D21D-2F8C545253CB}"/>
                </a:ext>
              </a:extLst>
            </p:cNvPr>
            <p:cNvSpPr/>
            <p:nvPr/>
          </p:nvSpPr>
          <p:spPr>
            <a:xfrm>
              <a:off x="3394113" y="2057938"/>
              <a:ext cx="86913" cy="101446"/>
            </a:xfrm>
            <a:prstGeom prst="ellipse">
              <a:avLst/>
            </a:prstGeom>
            <a:noFill/>
            <a:ln w="25400" cap="flat" cmpd="sng" algn="ctr">
              <a:solidFill>
                <a:schemeClr val="accent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cxnSp>
          <p:nvCxnSpPr>
            <p:cNvPr id="37" name="Straight Arrow Connector 98">
              <a:extLst>
                <a:ext uri="{FF2B5EF4-FFF2-40B4-BE49-F238E27FC236}">
                  <a16:creationId xmlns:a16="http://schemas.microsoft.com/office/drawing/2014/main" id="{07590357-9C6E-2275-276E-DB1865A13CFA}"/>
                </a:ext>
              </a:extLst>
            </p:cNvPr>
            <p:cNvCxnSpPr>
              <a:cxnSpLocks/>
              <a:stCxn id="36" idx="6"/>
            </p:cNvCxnSpPr>
            <p:nvPr/>
          </p:nvCxnSpPr>
          <p:spPr>
            <a:xfrm>
              <a:off x="3481026" y="2108661"/>
              <a:ext cx="2142018" cy="8142"/>
            </a:xfrm>
            <a:prstGeom prst="straightConnector1">
              <a:avLst/>
            </a:prstGeom>
            <a:noFill/>
            <a:ln w="12700" cap="flat" cmpd="sng" algn="ctr">
              <a:solidFill>
                <a:schemeClr val="accent4"/>
              </a:solidFill>
              <a:prstDash val="solid"/>
              <a:headEnd type="none" w="med" len="med"/>
              <a:tailEnd type="none" w="med" len="med"/>
            </a:ln>
            <a:effectLst/>
          </p:spPr>
        </p:cxnSp>
      </p:grpSp>
      <p:grpSp>
        <p:nvGrpSpPr>
          <p:cNvPr id="39" name="Group 96">
            <a:extLst>
              <a:ext uri="{FF2B5EF4-FFF2-40B4-BE49-F238E27FC236}">
                <a16:creationId xmlns:a16="http://schemas.microsoft.com/office/drawing/2014/main" id="{2D85DDC3-7168-8186-6240-5466F67EA0A3}"/>
              </a:ext>
            </a:extLst>
          </p:cNvPr>
          <p:cNvGrpSpPr/>
          <p:nvPr/>
        </p:nvGrpSpPr>
        <p:grpSpPr>
          <a:xfrm flipH="1">
            <a:off x="1750010" y="2741537"/>
            <a:ext cx="808966" cy="72000"/>
            <a:chOff x="3370658" y="2057938"/>
            <a:chExt cx="1240061" cy="101446"/>
          </a:xfrm>
        </p:grpSpPr>
        <p:sp>
          <p:nvSpPr>
            <p:cNvPr id="40" name="Oval 97">
              <a:extLst>
                <a:ext uri="{FF2B5EF4-FFF2-40B4-BE49-F238E27FC236}">
                  <a16:creationId xmlns:a16="http://schemas.microsoft.com/office/drawing/2014/main" id="{2FFEEF6A-97F3-6C30-0300-2BE72BFBE063}"/>
                </a:ext>
              </a:extLst>
            </p:cNvPr>
            <p:cNvSpPr/>
            <p:nvPr/>
          </p:nvSpPr>
          <p:spPr>
            <a:xfrm>
              <a:off x="3370658" y="2057938"/>
              <a:ext cx="110369" cy="101446"/>
            </a:xfrm>
            <a:prstGeom prst="ellipse">
              <a:avLst/>
            </a:prstGeom>
            <a:noFill/>
            <a:ln w="25400" cap="flat" cmpd="sng" algn="ctr">
              <a:solidFill>
                <a:srgbClr val="BD281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cxnSp>
          <p:nvCxnSpPr>
            <p:cNvPr id="41" name="Straight Arrow Connector 98">
              <a:extLst>
                <a:ext uri="{FF2B5EF4-FFF2-40B4-BE49-F238E27FC236}">
                  <a16:creationId xmlns:a16="http://schemas.microsoft.com/office/drawing/2014/main" id="{6F95D992-7508-D893-CAAD-B6694B669A49}"/>
                </a:ext>
              </a:extLst>
            </p:cNvPr>
            <p:cNvCxnSpPr>
              <a:cxnSpLocks/>
            </p:cNvCxnSpPr>
            <p:nvPr/>
          </p:nvCxnSpPr>
          <p:spPr>
            <a:xfrm>
              <a:off x="3507042" y="2116804"/>
              <a:ext cx="1103677" cy="0"/>
            </a:xfrm>
            <a:prstGeom prst="straightConnector1">
              <a:avLst/>
            </a:prstGeom>
            <a:noFill/>
            <a:ln w="12700" cap="flat" cmpd="sng" algn="ctr">
              <a:solidFill>
                <a:srgbClr val="BD281E"/>
              </a:solidFill>
              <a:prstDash val="solid"/>
              <a:headEnd type="none" w="med" len="med"/>
              <a:tailEnd type="none" w="med" len="med"/>
            </a:ln>
            <a:effectLst/>
          </p:spPr>
        </p:cxnSp>
      </p:grpSp>
      <p:sp>
        <p:nvSpPr>
          <p:cNvPr id="42" name="TextBox 37">
            <a:extLst>
              <a:ext uri="{FF2B5EF4-FFF2-40B4-BE49-F238E27FC236}">
                <a16:creationId xmlns:a16="http://schemas.microsoft.com/office/drawing/2014/main" id="{9E497875-4A64-1E2E-7E70-58A8E13D628C}"/>
              </a:ext>
            </a:extLst>
          </p:cNvPr>
          <p:cNvSpPr txBox="1"/>
          <p:nvPr/>
        </p:nvSpPr>
        <p:spPr>
          <a:xfrm>
            <a:off x="3566378" y="3645570"/>
            <a:ext cx="7835164" cy="1077218"/>
          </a:xfrm>
          <a:prstGeom prst="rect">
            <a:avLst/>
          </a:prstGeom>
          <a:noFill/>
        </p:spPr>
        <p:txBody>
          <a:bodyPr wrap="square" rtlCol="0">
            <a:spAutoFit/>
          </a:bodyPr>
          <a:lstStyle/>
          <a:p>
            <a:r>
              <a:rPr lang="en-GB" sz="1200" b="1" u="sng">
                <a:latin typeface="Arial" panose="020B0604020202020204" pitchFamily="34" charset="0"/>
                <a:cs typeface="Arial" panose="020B0604020202020204" pitchFamily="34" charset="0"/>
              </a:rPr>
              <a:t>Tier 2: Wider Enablers</a:t>
            </a:r>
          </a:p>
          <a:p>
            <a:endParaRPr lang="en-GB" sz="400" b="1" u="sng">
              <a:latin typeface="Arial" panose="020B0604020202020204" pitchFamily="34" charset="0"/>
              <a:cs typeface="Arial" panose="020B0604020202020204" pitchFamily="34" charset="0"/>
            </a:endParaRPr>
          </a:p>
          <a:p>
            <a:pPr marL="171450" indent="-171450">
              <a:buSzPct val="84000"/>
              <a:buFont typeface="Wingdings" panose="05000000000000000000" pitchFamily="2" charset="2"/>
              <a:buChar char="§"/>
            </a:pPr>
            <a:r>
              <a:rPr lang="en-GB" sz="1100">
                <a:latin typeface="Arial" panose="020B0604020202020204" pitchFamily="34" charset="0"/>
                <a:cs typeface="Arial" panose="020B0604020202020204" pitchFamily="34" charset="0"/>
              </a:rPr>
              <a:t>Stakeholders with some interests and business needs that align with the key objectives of Flex Direct, but are likely to have limited impact or influence, and may therefore play an indirect role in increasing energy efficiency flexibility. </a:t>
            </a:r>
          </a:p>
          <a:p>
            <a:pPr marL="171450" indent="-171450">
              <a:buSzPct val="84000"/>
              <a:buFont typeface="Wingdings" panose="05000000000000000000" pitchFamily="2" charset="2"/>
              <a:buChar char="§"/>
            </a:pPr>
            <a:r>
              <a:rPr lang="en-GB" sz="1100">
                <a:latin typeface="Arial" panose="020B0604020202020204" pitchFamily="34" charset="0"/>
                <a:cs typeface="Arial" panose="020B0604020202020204" pitchFamily="34" charset="0"/>
              </a:rPr>
              <a:t>Stakeholders in this tier will be engaged with at a high-level during the Alpha Phase. </a:t>
            </a:r>
          </a:p>
          <a:p>
            <a:pPr>
              <a:buSzPct val="84000"/>
            </a:pPr>
            <a:endParaRPr lang="en-GB" sz="400">
              <a:solidFill>
                <a:srgbClr val="FFFFFF"/>
              </a:solidFill>
              <a:latin typeface="Arial" panose="020B0604020202020204" pitchFamily="34" charset="0"/>
              <a:cs typeface="Arial" panose="020B0604020202020204" pitchFamily="34" charset="0"/>
            </a:endParaRPr>
          </a:p>
          <a:p>
            <a:r>
              <a:rPr lang="en-GB" sz="1100" b="1" i="1">
                <a:solidFill>
                  <a:srgbClr val="BD281E"/>
                </a:solidFill>
                <a:latin typeface="Arial" panose="020B0604020202020204" pitchFamily="34" charset="0"/>
                <a:cs typeface="Arial" panose="020B0604020202020204" pitchFamily="34" charset="0"/>
              </a:rPr>
              <a:t>Example: Government Agencies and Regulatory Bodies, Energy Efficiency Service Providers, Energy Suppliers</a:t>
            </a:r>
          </a:p>
        </p:txBody>
      </p:sp>
      <p:sp>
        <p:nvSpPr>
          <p:cNvPr id="43" name="TextBox 37">
            <a:extLst>
              <a:ext uri="{FF2B5EF4-FFF2-40B4-BE49-F238E27FC236}">
                <a16:creationId xmlns:a16="http://schemas.microsoft.com/office/drawing/2014/main" id="{0E838430-7344-EEAB-3957-71A8BAF9CD8C}"/>
              </a:ext>
            </a:extLst>
          </p:cNvPr>
          <p:cNvSpPr txBox="1"/>
          <p:nvPr/>
        </p:nvSpPr>
        <p:spPr>
          <a:xfrm>
            <a:off x="2702461" y="1976074"/>
            <a:ext cx="8845374" cy="1461939"/>
          </a:xfrm>
          <a:prstGeom prst="rect">
            <a:avLst/>
          </a:prstGeom>
          <a:noFill/>
        </p:spPr>
        <p:txBody>
          <a:bodyPr wrap="square" rtlCol="0">
            <a:spAutoFit/>
          </a:bodyPr>
          <a:lstStyle/>
          <a:p>
            <a:r>
              <a:rPr lang="en-GB" sz="1200" b="1" u="sng" dirty="0">
                <a:latin typeface="Arial" panose="020B0604020202020204" pitchFamily="34" charset="0"/>
                <a:cs typeface="Arial" panose="020B0604020202020204" pitchFamily="34" charset="0"/>
              </a:rPr>
              <a:t>Tier 1: Direct involvement</a:t>
            </a:r>
          </a:p>
          <a:p>
            <a:endParaRPr lang="en-GB" sz="400" b="1" u="sng" dirty="0">
              <a:latin typeface="Arial" panose="020B0604020202020204" pitchFamily="34" charset="0"/>
              <a:cs typeface="Arial" panose="020B0604020202020204" pitchFamily="34" charset="0"/>
            </a:endParaRPr>
          </a:p>
          <a:p>
            <a:pPr marL="171450" indent="-171450">
              <a:buSzPct val="84000"/>
              <a:buFont typeface="Wingdings" panose="05000000000000000000" pitchFamily="2" charset="2"/>
              <a:buChar char="§"/>
            </a:pPr>
            <a:r>
              <a:rPr lang="en-GB" sz="1100" dirty="0">
                <a:latin typeface="Arial" panose="020B0604020202020204" pitchFamily="34" charset="0"/>
                <a:cs typeface="Arial" panose="020B0604020202020204" pitchFamily="34" charset="0"/>
              </a:rPr>
              <a:t>Organisations that will have a primary role in increasing the uptake of energy efficiency flexibility due to their business needs, level of interest and strategic significance. </a:t>
            </a:r>
          </a:p>
          <a:p>
            <a:pPr marL="171450" indent="-171450">
              <a:buSzPct val="84000"/>
              <a:buFont typeface="Wingdings" panose="05000000000000000000" pitchFamily="2" charset="2"/>
              <a:buChar char="§"/>
            </a:pPr>
            <a:r>
              <a:rPr lang="en-GB" sz="1100" dirty="0">
                <a:latin typeface="Arial" panose="020B0604020202020204" pitchFamily="34" charset="0"/>
                <a:cs typeface="Arial" panose="020B0604020202020204" pitchFamily="34" charset="0"/>
              </a:rPr>
              <a:t>Likely to be directly involved in the delivery of new commercial arrangements and will be prioritised for further engagement and participation during Alpha. Further details on the stakeholders outlined in this tier are covered on the next slide. </a:t>
            </a:r>
          </a:p>
          <a:p>
            <a:pPr>
              <a:buSzPct val="84000"/>
            </a:pPr>
            <a:endParaRPr lang="en-GB" sz="400" dirty="0">
              <a:latin typeface="Arial" panose="020B0604020202020204" pitchFamily="34" charset="0"/>
              <a:cs typeface="Arial" panose="020B0604020202020204" pitchFamily="34" charset="0"/>
            </a:endParaRPr>
          </a:p>
          <a:p>
            <a:r>
              <a:rPr lang="en-GB" sz="1100" b="1" i="1" dirty="0">
                <a:solidFill>
                  <a:srgbClr val="BD281E"/>
                </a:solidFill>
                <a:latin typeface="Arial" panose="020B0604020202020204" pitchFamily="34" charset="0"/>
                <a:cs typeface="Arial" panose="020B0604020202020204" pitchFamily="34" charset="0"/>
              </a:rPr>
              <a:t>Example: DSOs, Local Authorities, Social Housing Providers, Energy Management Companies, Flexibility Providers</a:t>
            </a:r>
          </a:p>
          <a:p>
            <a:endParaRPr lang="en-GB" sz="1100" dirty="0">
              <a:latin typeface="Arial" panose="020B0604020202020204" pitchFamily="34" charset="0"/>
              <a:cs typeface="Arial" panose="020B0604020202020204" pitchFamily="34" charset="0"/>
            </a:endParaRPr>
          </a:p>
        </p:txBody>
      </p:sp>
      <p:grpSp>
        <p:nvGrpSpPr>
          <p:cNvPr id="143" name="Group 142">
            <a:extLst>
              <a:ext uri="{FF2B5EF4-FFF2-40B4-BE49-F238E27FC236}">
                <a16:creationId xmlns:a16="http://schemas.microsoft.com/office/drawing/2014/main" id="{277D5CBC-E3C6-A4FE-AD9A-13CFFF2612BA}"/>
              </a:ext>
            </a:extLst>
          </p:cNvPr>
          <p:cNvGrpSpPr/>
          <p:nvPr/>
        </p:nvGrpSpPr>
        <p:grpSpPr>
          <a:xfrm>
            <a:off x="1406474" y="2324366"/>
            <a:ext cx="678657" cy="990653"/>
            <a:chOff x="1445256" y="2324366"/>
            <a:chExt cx="678657" cy="990653"/>
          </a:xfrm>
        </p:grpSpPr>
        <p:sp>
          <p:nvSpPr>
            <p:cNvPr id="45" name="Freeform: Shape 67">
              <a:extLst>
                <a:ext uri="{FF2B5EF4-FFF2-40B4-BE49-F238E27FC236}">
                  <a16:creationId xmlns:a16="http://schemas.microsoft.com/office/drawing/2014/main" id="{02AD4CFF-2A21-8389-1399-88DD4CB2E691}"/>
                </a:ext>
              </a:extLst>
            </p:cNvPr>
            <p:cNvSpPr/>
            <p:nvPr/>
          </p:nvSpPr>
          <p:spPr>
            <a:xfrm rot="10800000">
              <a:off x="1445256" y="2905356"/>
              <a:ext cx="678657" cy="409663"/>
            </a:xfrm>
            <a:custGeom>
              <a:avLst/>
              <a:gdLst>
                <a:gd name="connsiteX0" fmla="*/ 460003 w 920008"/>
                <a:gd name="connsiteY0" fmla="*/ 0 h 435005"/>
                <a:gd name="connsiteX1" fmla="*/ 717332 w 920008"/>
                <a:gd name="connsiteY1" fmla="*/ 37146 h 435005"/>
                <a:gd name="connsiteX2" fmla="*/ 738965 w 920008"/>
                <a:gd name="connsiteY2" fmla="*/ 45582 h 435005"/>
                <a:gd name="connsiteX3" fmla="*/ 738967 w 920008"/>
                <a:gd name="connsiteY3" fmla="*/ 45581 h 435005"/>
                <a:gd name="connsiteX4" fmla="*/ 785447 w 920008"/>
                <a:gd name="connsiteY4" fmla="*/ 63704 h 435005"/>
                <a:gd name="connsiteX5" fmla="*/ 910899 w 920008"/>
                <a:gd name="connsiteY5" fmla="*/ 173667 h 435005"/>
                <a:gd name="connsiteX6" fmla="*/ 920008 w 920008"/>
                <a:gd name="connsiteY6" fmla="*/ 216365 h 435005"/>
                <a:gd name="connsiteX7" fmla="*/ 892517 w 920008"/>
                <a:gd name="connsiteY7" fmla="*/ 289322 h 435005"/>
                <a:gd name="connsiteX8" fmla="*/ 884081 w 920008"/>
                <a:gd name="connsiteY8" fmla="*/ 302164 h 435005"/>
                <a:gd name="connsiteX9" fmla="*/ 460003 w 920008"/>
                <a:gd name="connsiteY9" fmla="*/ 435005 h 435005"/>
                <a:gd name="connsiteX10" fmla="*/ 35925 w 920008"/>
                <a:gd name="connsiteY10" fmla="*/ 302164 h 435005"/>
                <a:gd name="connsiteX11" fmla="*/ 27494 w 920008"/>
                <a:gd name="connsiteY11" fmla="*/ 289329 h 435005"/>
                <a:gd name="connsiteX12" fmla="*/ 0 w 920008"/>
                <a:gd name="connsiteY12" fmla="*/ 216362 h 435005"/>
                <a:gd name="connsiteX13" fmla="*/ 9107 w 920008"/>
                <a:gd name="connsiteY13" fmla="*/ 173667 h 435005"/>
                <a:gd name="connsiteX14" fmla="*/ 134559 w 920008"/>
                <a:gd name="connsiteY14" fmla="*/ 63704 h 435005"/>
                <a:gd name="connsiteX15" fmla="*/ 181040 w 920008"/>
                <a:gd name="connsiteY15" fmla="*/ 45581 h 435005"/>
                <a:gd name="connsiteX16" fmla="*/ 181042 w 920008"/>
                <a:gd name="connsiteY16" fmla="*/ 45582 h 435005"/>
                <a:gd name="connsiteX17" fmla="*/ 202675 w 920008"/>
                <a:gd name="connsiteY17" fmla="*/ 37146 h 435005"/>
                <a:gd name="connsiteX18" fmla="*/ 460003 w 920008"/>
                <a:gd name="connsiteY18" fmla="*/ 0 h 4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0008" h="435005">
                  <a:moveTo>
                    <a:pt x="460003" y="0"/>
                  </a:moveTo>
                  <a:cubicBezTo>
                    <a:pt x="555323" y="0"/>
                    <a:pt x="643876" y="13694"/>
                    <a:pt x="717332" y="37146"/>
                  </a:cubicBezTo>
                  <a:lnTo>
                    <a:pt x="738965" y="45582"/>
                  </a:lnTo>
                  <a:lnTo>
                    <a:pt x="738967" y="45581"/>
                  </a:lnTo>
                  <a:lnTo>
                    <a:pt x="785447" y="63704"/>
                  </a:lnTo>
                  <a:cubicBezTo>
                    <a:pt x="847913" y="93224"/>
                    <a:pt x="892507" y="131191"/>
                    <a:pt x="910899" y="173667"/>
                  </a:cubicBezTo>
                  <a:lnTo>
                    <a:pt x="920008" y="216365"/>
                  </a:lnTo>
                  <a:lnTo>
                    <a:pt x="892517" y="289322"/>
                  </a:lnTo>
                  <a:lnTo>
                    <a:pt x="884081" y="302164"/>
                  </a:lnTo>
                  <a:cubicBezTo>
                    <a:pt x="814212" y="380230"/>
                    <a:pt x="650643" y="435005"/>
                    <a:pt x="460003" y="435005"/>
                  </a:cubicBezTo>
                  <a:cubicBezTo>
                    <a:pt x="269363" y="435005"/>
                    <a:pt x="105794" y="380230"/>
                    <a:pt x="35925" y="302164"/>
                  </a:cubicBezTo>
                  <a:lnTo>
                    <a:pt x="27494" y="289329"/>
                  </a:lnTo>
                  <a:lnTo>
                    <a:pt x="0" y="216362"/>
                  </a:lnTo>
                  <a:lnTo>
                    <a:pt x="9107" y="173667"/>
                  </a:lnTo>
                  <a:cubicBezTo>
                    <a:pt x="27500" y="131191"/>
                    <a:pt x="72093" y="93224"/>
                    <a:pt x="134559" y="63704"/>
                  </a:cubicBezTo>
                  <a:lnTo>
                    <a:pt x="181040" y="45581"/>
                  </a:lnTo>
                  <a:lnTo>
                    <a:pt x="181042" y="45582"/>
                  </a:lnTo>
                  <a:lnTo>
                    <a:pt x="202675" y="37146"/>
                  </a:lnTo>
                  <a:cubicBezTo>
                    <a:pt x="276131" y="13694"/>
                    <a:pt x="364683" y="0"/>
                    <a:pt x="460003" y="0"/>
                  </a:cubicBezTo>
                  <a:close/>
                </a:path>
              </a:pathLst>
            </a:custGeom>
            <a:gradFill flip="none" rotWithShape="1">
              <a:gsLst>
                <a:gs pos="0">
                  <a:srgbClr val="BD281E"/>
                </a:gs>
                <a:gs pos="78000">
                  <a:srgbClr val="79111B"/>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46" name="Freeform: Shape 110">
              <a:extLst>
                <a:ext uri="{FF2B5EF4-FFF2-40B4-BE49-F238E27FC236}">
                  <a16:creationId xmlns:a16="http://schemas.microsoft.com/office/drawing/2014/main" id="{CBC3698F-87E4-1EE0-05AE-1B2FEF9DAD16}"/>
                </a:ext>
              </a:extLst>
            </p:cNvPr>
            <p:cNvSpPr/>
            <p:nvPr/>
          </p:nvSpPr>
          <p:spPr>
            <a:xfrm rot="10800000">
              <a:off x="1472567" y="2324366"/>
              <a:ext cx="624038" cy="705175"/>
            </a:xfrm>
            <a:custGeom>
              <a:avLst/>
              <a:gdLst>
                <a:gd name="connsiteX0" fmla="*/ 865023 w 865023"/>
                <a:gd name="connsiteY0" fmla="*/ 0 h 1017665"/>
                <a:gd name="connsiteX1" fmla="*/ 560821 w 865023"/>
                <a:gd name="connsiteY1" fmla="*/ 807308 h 1017665"/>
                <a:gd name="connsiteX2" fmla="*/ 499097 w 865023"/>
                <a:gd name="connsiteY2" fmla="*/ 971115 h 1017665"/>
                <a:gd name="connsiteX3" fmla="*/ 499096 w 865023"/>
                <a:gd name="connsiteY3" fmla="*/ 971115 h 1017665"/>
                <a:gd name="connsiteX4" fmla="*/ 497429 w 865023"/>
                <a:gd name="connsiteY4" fmla="*/ 975539 h 1017665"/>
                <a:gd name="connsiteX5" fmla="*/ 483176 w 865023"/>
                <a:gd name="connsiteY5" fmla="*/ 996677 h 1017665"/>
                <a:gd name="connsiteX6" fmla="*/ 432507 w 865023"/>
                <a:gd name="connsiteY6" fmla="*/ 1017665 h 1017665"/>
                <a:gd name="connsiteX7" fmla="*/ 381838 w 865023"/>
                <a:gd name="connsiteY7" fmla="*/ 996677 h 1017665"/>
                <a:gd name="connsiteX8" fmla="*/ 367595 w 865023"/>
                <a:gd name="connsiteY8" fmla="*/ 975552 h 1017665"/>
                <a:gd name="connsiteX9" fmla="*/ 365914 w 865023"/>
                <a:gd name="connsiteY9" fmla="*/ 971091 h 1017665"/>
                <a:gd name="connsiteX10" fmla="*/ 0 w 865023"/>
                <a:gd name="connsiteY10" fmla="*/ 7 h 1017665"/>
                <a:gd name="connsiteX11" fmla="*/ 3 w 865023"/>
                <a:gd name="connsiteY11" fmla="*/ 11 h 1017665"/>
                <a:gd name="connsiteX12" fmla="*/ 8431 w 865023"/>
                <a:gd name="connsiteY12" fmla="*/ 12842 h 1017665"/>
                <a:gd name="connsiteX13" fmla="*/ 432509 w 865023"/>
                <a:gd name="connsiteY13" fmla="*/ 145683 h 1017665"/>
                <a:gd name="connsiteX14" fmla="*/ 856587 w 865023"/>
                <a:gd name="connsiteY14" fmla="*/ 12842 h 1017665"/>
                <a:gd name="connsiteX15" fmla="*/ 865022 w 865023"/>
                <a:gd name="connsiteY15" fmla="*/ 2 h 10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5023" h="1017665">
                  <a:moveTo>
                    <a:pt x="865023" y="0"/>
                  </a:moveTo>
                  <a:lnTo>
                    <a:pt x="560821" y="807308"/>
                  </a:lnTo>
                  <a:lnTo>
                    <a:pt x="499097" y="971115"/>
                  </a:lnTo>
                  <a:lnTo>
                    <a:pt x="499096" y="971115"/>
                  </a:lnTo>
                  <a:lnTo>
                    <a:pt x="497429" y="975539"/>
                  </a:lnTo>
                  <a:lnTo>
                    <a:pt x="483176" y="996677"/>
                  </a:lnTo>
                  <a:cubicBezTo>
                    <a:pt x="470209" y="1009645"/>
                    <a:pt x="452295" y="1017665"/>
                    <a:pt x="432507" y="1017665"/>
                  </a:cubicBezTo>
                  <a:cubicBezTo>
                    <a:pt x="412720" y="1017665"/>
                    <a:pt x="394805" y="1009645"/>
                    <a:pt x="381838" y="996677"/>
                  </a:cubicBezTo>
                  <a:lnTo>
                    <a:pt x="367595" y="975552"/>
                  </a:lnTo>
                  <a:lnTo>
                    <a:pt x="365914" y="971091"/>
                  </a:lnTo>
                  <a:lnTo>
                    <a:pt x="0" y="7"/>
                  </a:lnTo>
                  <a:lnTo>
                    <a:pt x="3" y="11"/>
                  </a:lnTo>
                  <a:lnTo>
                    <a:pt x="8431" y="12842"/>
                  </a:lnTo>
                  <a:cubicBezTo>
                    <a:pt x="78300" y="90908"/>
                    <a:pt x="241869" y="145683"/>
                    <a:pt x="432509" y="145683"/>
                  </a:cubicBezTo>
                  <a:cubicBezTo>
                    <a:pt x="623149" y="145683"/>
                    <a:pt x="786718" y="90908"/>
                    <a:pt x="856587" y="12842"/>
                  </a:cubicBezTo>
                  <a:lnTo>
                    <a:pt x="865022" y="2"/>
                  </a:lnTo>
                  <a:close/>
                </a:path>
              </a:pathLst>
            </a:custGeom>
            <a:gradFill flip="none" rotWithShape="1">
              <a:gsLst>
                <a:gs pos="46000">
                  <a:srgbClr val="BD281E"/>
                </a:gs>
                <a:gs pos="78000">
                  <a:srgbClr val="79111B"/>
                </a:gs>
              </a:gsLst>
              <a:path path="circle">
                <a:fillToRect r="100000" b="100000"/>
              </a:path>
              <a:tileRect l="-100000" t="-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DFBB9B44-979D-36EA-56CE-F9EAC31DE32C}"/>
                </a:ext>
              </a:extLst>
            </p:cNvPr>
            <p:cNvSpPr/>
            <p:nvPr/>
          </p:nvSpPr>
          <p:spPr>
            <a:xfrm flipH="1">
              <a:off x="1531093" y="2610123"/>
              <a:ext cx="515184" cy="276999"/>
            </a:xfrm>
            <a:prstGeom prst="rect">
              <a:avLst/>
            </a:prstGeom>
          </p:spPr>
          <p:txBody>
            <a:bodyPr wrap="square" lIns="0" tIns="0" rIns="0" bIns="0" anchor="ctr">
              <a:spAutoFit/>
            </a:bodyPr>
            <a:lstStyle/>
            <a:p>
              <a:pPr algn="ctr"/>
              <a:r>
                <a:rPr lang="en-GB" b="1">
                  <a:solidFill>
                    <a:schemeClr val="bg1"/>
                  </a:solidFill>
                  <a:latin typeface="Arial" panose="020B0604020202020204" pitchFamily="34" charset="0"/>
                  <a:cs typeface="Arial" panose="020B0604020202020204" pitchFamily="34" charset="0"/>
                </a:rPr>
                <a:t>1</a:t>
              </a:r>
              <a:endParaRPr lang="en-GB" sz="800" b="1">
                <a:solidFill>
                  <a:schemeClr val="bg1"/>
                </a:solidFill>
                <a:latin typeface="Arial" panose="020B0604020202020204" pitchFamily="34" charset="0"/>
                <a:cs typeface="Arial" panose="020B0604020202020204" pitchFamily="34" charset="0"/>
              </a:endParaRPr>
            </a:p>
          </p:txBody>
        </p:sp>
      </p:grpSp>
      <p:grpSp>
        <p:nvGrpSpPr>
          <p:cNvPr id="144" name="Group 143">
            <a:extLst>
              <a:ext uri="{FF2B5EF4-FFF2-40B4-BE49-F238E27FC236}">
                <a16:creationId xmlns:a16="http://schemas.microsoft.com/office/drawing/2014/main" id="{005D394C-D4EE-02B2-921E-885D836162CB}"/>
              </a:ext>
            </a:extLst>
          </p:cNvPr>
          <p:cNvGrpSpPr/>
          <p:nvPr/>
        </p:nvGrpSpPr>
        <p:grpSpPr>
          <a:xfrm>
            <a:off x="1023784" y="3724204"/>
            <a:ext cx="1444037" cy="980300"/>
            <a:chOff x="1028384" y="3724204"/>
            <a:chExt cx="1444037" cy="980300"/>
          </a:xfrm>
        </p:grpSpPr>
        <p:sp>
          <p:nvSpPr>
            <p:cNvPr id="47" name="Freeform: Shape 93">
              <a:extLst>
                <a:ext uri="{FF2B5EF4-FFF2-40B4-BE49-F238E27FC236}">
                  <a16:creationId xmlns:a16="http://schemas.microsoft.com/office/drawing/2014/main" id="{616CDB1A-67D7-83FF-9141-C4E39226E0EB}"/>
                </a:ext>
              </a:extLst>
            </p:cNvPr>
            <p:cNvSpPr/>
            <p:nvPr/>
          </p:nvSpPr>
          <p:spPr>
            <a:xfrm rot="10800000">
              <a:off x="1028384" y="4325278"/>
              <a:ext cx="1444037" cy="379226"/>
            </a:xfrm>
            <a:custGeom>
              <a:avLst/>
              <a:gdLst>
                <a:gd name="connsiteX0" fmla="*/ 935320 w 1870640"/>
                <a:gd name="connsiteY0" fmla="*/ 0 h 435006"/>
                <a:gd name="connsiteX1" fmla="*/ 1461691 w 1870640"/>
                <a:gd name="connsiteY1" fmla="*/ 37146 h 435006"/>
                <a:gd name="connsiteX2" fmla="*/ 1486139 w 1870640"/>
                <a:gd name="connsiteY2" fmla="*/ 41806 h 435006"/>
                <a:gd name="connsiteX3" fmla="*/ 1601022 w 1870640"/>
                <a:gd name="connsiteY3" fmla="*/ 63705 h 435006"/>
                <a:gd name="connsiteX4" fmla="*/ 1857638 w 1870640"/>
                <a:gd name="connsiteY4" fmla="*/ 173668 h 435006"/>
                <a:gd name="connsiteX5" fmla="*/ 1870640 w 1870640"/>
                <a:gd name="connsiteY5" fmla="*/ 193351 h 435006"/>
                <a:gd name="connsiteX6" fmla="*/ 1838564 w 1870640"/>
                <a:gd name="connsiteY6" fmla="*/ 278476 h 435006"/>
                <a:gd name="connsiteX7" fmla="*/ 1834440 w 1870640"/>
                <a:gd name="connsiteY7" fmla="*/ 282182 h 435006"/>
                <a:gd name="connsiteX8" fmla="*/ 935320 w 1870640"/>
                <a:gd name="connsiteY8" fmla="*/ 435006 h 435006"/>
                <a:gd name="connsiteX9" fmla="*/ 36200 w 1870640"/>
                <a:gd name="connsiteY9" fmla="*/ 282182 h 435006"/>
                <a:gd name="connsiteX10" fmla="*/ 32076 w 1870640"/>
                <a:gd name="connsiteY10" fmla="*/ 278476 h 435006"/>
                <a:gd name="connsiteX11" fmla="*/ 0 w 1870640"/>
                <a:gd name="connsiteY11" fmla="*/ 193351 h 435006"/>
                <a:gd name="connsiteX12" fmla="*/ 13002 w 1870640"/>
                <a:gd name="connsiteY12" fmla="*/ 173668 h 435006"/>
                <a:gd name="connsiteX13" fmla="*/ 269618 w 1870640"/>
                <a:gd name="connsiteY13" fmla="*/ 63705 h 435006"/>
                <a:gd name="connsiteX14" fmla="*/ 384501 w 1870640"/>
                <a:gd name="connsiteY14" fmla="*/ 41806 h 435006"/>
                <a:gd name="connsiteX15" fmla="*/ 408949 w 1870640"/>
                <a:gd name="connsiteY15" fmla="*/ 37146 h 435006"/>
                <a:gd name="connsiteX16" fmla="*/ 935320 w 1870640"/>
                <a:gd name="connsiteY16"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0640" h="435006">
                  <a:moveTo>
                    <a:pt x="935320" y="0"/>
                  </a:moveTo>
                  <a:cubicBezTo>
                    <a:pt x="1130300" y="0"/>
                    <a:pt x="1311436" y="13694"/>
                    <a:pt x="1461691" y="37146"/>
                  </a:cubicBezTo>
                  <a:lnTo>
                    <a:pt x="1486139" y="41806"/>
                  </a:lnTo>
                  <a:lnTo>
                    <a:pt x="1601022" y="63705"/>
                  </a:lnTo>
                  <a:cubicBezTo>
                    <a:pt x="1728798" y="93225"/>
                    <a:pt x="1820016" y="131191"/>
                    <a:pt x="1857638" y="173668"/>
                  </a:cubicBezTo>
                  <a:lnTo>
                    <a:pt x="1870640" y="193351"/>
                  </a:lnTo>
                  <a:lnTo>
                    <a:pt x="1838564" y="278476"/>
                  </a:lnTo>
                  <a:lnTo>
                    <a:pt x="1834440" y="282182"/>
                  </a:lnTo>
                  <a:cubicBezTo>
                    <a:pt x="1715242" y="370721"/>
                    <a:pt x="1357776" y="435006"/>
                    <a:pt x="935320" y="435006"/>
                  </a:cubicBezTo>
                  <a:cubicBezTo>
                    <a:pt x="512864" y="435006"/>
                    <a:pt x="155398" y="370721"/>
                    <a:pt x="36200" y="282182"/>
                  </a:cubicBezTo>
                  <a:lnTo>
                    <a:pt x="32076" y="278476"/>
                  </a:lnTo>
                  <a:lnTo>
                    <a:pt x="0" y="193351"/>
                  </a:lnTo>
                  <a:lnTo>
                    <a:pt x="13002" y="173668"/>
                  </a:lnTo>
                  <a:cubicBezTo>
                    <a:pt x="50624" y="131191"/>
                    <a:pt x="141842" y="93225"/>
                    <a:pt x="269618" y="63705"/>
                  </a:cubicBezTo>
                  <a:lnTo>
                    <a:pt x="384501" y="41806"/>
                  </a:lnTo>
                  <a:lnTo>
                    <a:pt x="408949" y="37146"/>
                  </a:lnTo>
                  <a:cubicBezTo>
                    <a:pt x="559205" y="13694"/>
                    <a:pt x="740340" y="0"/>
                    <a:pt x="935320" y="0"/>
                  </a:cubicBezTo>
                  <a:close/>
                </a:path>
              </a:pathLst>
            </a:custGeom>
            <a:gradFill flip="none" rotWithShape="1">
              <a:gsLst>
                <a:gs pos="0">
                  <a:schemeClr val="accent2"/>
                </a:gs>
                <a:gs pos="78000">
                  <a:schemeClr val="accent2">
                    <a:lumMod val="50000"/>
                  </a:schemeClr>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48" name="Freeform: Shape 105">
              <a:extLst>
                <a:ext uri="{FF2B5EF4-FFF2-40B4-BE49-F238E27FC236}">
                  <a16:creationId xmlns:a16="http://schemas.microsoft.com/office/drawing/2014/main" id="{B577320E-F6F9-4E1F-9C41-E3B0B85D5323}"/>
                </a:ext>
              </a:extLst>
            </p:cNvPr>
            <p:cNvSpPr/>
            <p:nvPr/>
          </p:nvSpPr>
          <p:spPr>
            <a:xfrm rot="10800000">
              <a:off x="1044737" y="3724204"/>
              <a:ext cx="1427684" cy="776451"/>
            </a:xfrm>
            <a:custGeom>
              <a:avLst/>
              <a:gdLst>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903243 w 1806488"/>
                <a:gd name="connsiteY15" fmla="*/ 959933 h 1031410"/>
                <a:gd name="connsiteX16" fmla="*/ 645915 w 1806488"/>
                <a:gd name="connsiteY16" fmla="*/ 997079 h 1031410"/>
                <a:gd name="connsiteX17" fmla="*/ 624280 w 1806488"/>
                <a:gd name="connsiteY17" fmla="*/ 1005515 h 1031410"/>
                <a:gd name="connsiteX18" fmla="*/ 566961 w 1806488"/>
                <a:gd name="connsiteY18" fmla="*/ 994264 h 1031410"/>
                <a:gd name="connsiteX19" fmla="*/ 349050 w 1806488"/>
                <a:gd name="connsiteY19" fmla="*/ 898569 h 1031410"/>
                <a:gd name="connsiteX20" fmla="*/ 330404 w 1806488"/>
                <a:gd name="connsiteY20" fmla="*/ 876848 h 1031410"/>
                <a:gd name="connsiteX21" fmla="*/ 303869 w 1806488"/>
                <a:gd name="connsiteY21" fmla="*/ 806427 h 1031410"/>
                <a:gd name="connsiteX22" fmla="*/ 314003 w 1806488"/>
                <a:gd name="connsiteY22" fmla="*/ 770072 h 1031410"/>
                <a:gd name="connsiteX23" fmla="*/ 903243 w 1806488"/>
                <a:gd name="connsiteY23" fmla="*/ 596404 h 1031410"/>
                <a:gd name="connsiteX24" fmla="*/ 0 w 1806488"/>
                <a:gd name="connsiteY24" fmla="*/ 0 h 1031410"/>
                <a:gd name="connsiteX25" fmla="*/ 4124 w 1806488"/>
                <a:gd name="connsiteY25" fmla="*/ 3706 h 1031410"/>
                <a:gd name="connsiteX26" fmla="*/ 903244 w 1806488"/>
                <a:gd name="connsiteY26" fmla="*/ 156530 h 1031410"/>
                <a:gd name="connsiteX27" fmla="*/ 1802364 w 1806488"/>
                <a:gd name="connsiteY27" fmla="*/ 3706 h 1031410"/>
                <a:gd name="connsiteX28" fmla="*/ 1806488 w 1806488"/>
                <a:gd name="connsiteY28" fmla="*/ 0 h 1031410"/>
                <a:gd name="connsiteX29" fmla="*/ 1502618 w 1806488"/>
                <a:gd name="connsiteY29" fmla="*/ 806429 h 1031410"/>
                <a:gd name="connsiteX30" fmla="*/ 1492483 w 1806488"/>
                <a:gd name="connsiteY30" fmla="*/ 770071 h 1031410"/>
                <a:gd name="connsiteX31" fmla="*/ 903243 w 1806488"/>
                <a:gd name="connsiteY31" fmla="*/ 596403 h 1031410"/>
                <a:gd name="connsiteX32" fmla="*/ 314003 w 1806488"/>
                <a:gd name="connsiteY32" fmla="*/ 770071 h 1031410"/>
                <a:gd name="connsiteX33" fmla="*/ 303869 w 1806488"/>
                <a:gd name="connsiteY33" fmla="*/ 806426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645915 w 1806488"/>
                <a:gd name="connsiteY15" fmla="*/ 997079 h 1031410"/>
                <a:gd name="connsiteX16" fmla="*/ 624280 w 1806488"/>
                <a:gd name="connsiteY16" fmla="*/ 1005515 h 1031410"/>
                <a:gd name="connsiteX17" fmla="*/ 566961 w 1806488"/>
                <a:gd name="connsiteY17" fmla="*/ 994264 h 1031410"/>
                <a:gd name="connsiteX18" fmla="*/ 349050 w 1806488"/>
                <a:gd name="connsiteY18" fmla="*/ 898569 h 1031410"/>
                <a:gd name="connsiteX19" fmla="*/ 330404 w 1806488"/>
                <a:gd name="connsiteY19" fmla="*/ 876848 h 1031410"/>
                <a:gd name="connsiteX20" fmla="*/ 303869 w 1806488"/>
                <a:gd name="connsiteY20" fmla="*/ 806427 h 1031410"/>
                <a:gd name="connsiteX21" fmla="*/ 314003 w 1806488"/>
                <a:gd name="connsiteY21" fmla="*/ 770072 h 1031410"/>
                <a:gd name="connsiteX22" fmla="*/ 903243 w 1806488"/>
                <a:gd name="connsiteY22" fmla="*/ 596404 h 1031410"/>
                <a:gd name="connsiteX23" fmla="*/ 0 w 1806488"/>
                <a:gd name="connsiteY23" fmla="*/ 0 h 1031410"/>
                <a:gd name="connsiteX24" fmla="*/ 4124 w 1806488"/>
                <a:gd name="connsiteY24" fmla="*/ 3706 h 1031410"/>
                <a:gd name="connsiteX25" fmla="*/ 903244 w 1806488"/>
                <a:gd name="connsiteY25" fmla="*/ 156530 h 1031410"/>
                <a:gd name="connsiteX26" fmla="*/ 1802364 w 1806488"/>
                <a:gd name="connsiteY26" fmla="*/ 3706 h 1031410"/>
                <a:gd name="connsiteX27" fmla="*/ 1806488 w 1806488"/>
                <a:gd name="connsiteY27" fmla="*/ 0 h 1031410"/>
                <a:gd name="connsiteX28" fmla="*/ 1502618 w 1806488"/>
                <a:gd name="connsiteY28" fmla="*/ 806429 h 1031410"/>
                <a:gd name="connsiteX29" fmla="*/ 1492483 w 1806488"/>
                <a:gd name="connsiteY29" fmla="*/ 770071 h 1031410"/>
                <a:gd name="connsiteX30" fmla="*/ 903243 w 1806488"/>
                <a:gd name="connsiteY30" fmla="*/ 596403 h 1031410"/>
                <a:gd name="connsiteX31" fmla="*/ 314003 w 1806488"/>
                <a:gd name="connsiteY31" fmla="*/ 770071 h 1031410"/>
                <a:gd name="connsiteX32" fmla="*/ 303869 w 1806488"/>
                <a:gd name="connsiteY32" fmla="*/ 806426 h 1031410"/>
                <a:gd name="connsiteX33" fmla="*/ 0 w 1806488"/>
                <a:gd name="connsiteY33"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645915 w 1806488"/>
                <a:gd name="connsiteY14" fmla="*/ 997079 h 1031410"/>
                <a:gd name="connsiteX15" fmla="*/ 624280 w 1806488"/>
                <a:gd name="connsiteY15" fmla="*/ 1005515 h 1031410"/>
                <a:gd name="connsiteX16" fmla="*/ 566961 w 1806488"/>
                <a:gd name="connsiteY16" fmla="*/ 994264 h 1031410"/>
                <a:gd name="connsiteX17" fmla="*/ 349050 w 1806488"/>
                <a:gd name="connsiteY17" fmla="*/ 898569 h 1031410"/>
                <a:gd name="connsiteX18" fmla="*/ 330404 w 1806488"/>
                <a:gd name="connsiteY18" fmla="*/ 876848 h 1031410"/>
                <a:gd name="connsiteX19" fmla="*/ 303869 w 1806488"/>
                <a:gd name="connsiteY19" fmla="*/ 806427 h 1031410"/>
                <a:gd name="connsiteX20" fmla="*/ 314003 w 1806488"/>
                <a:gd name="connsiteY20" fmla="*/ 770072 h 1031410"/>
                <a:gd name="connsiteX21" fmla="*/ 903243 w 1806488"/>
                <a:gd name="connsiteY21" fmla="*/ 596404 h 1031410"/>
                <a:gd name="connsiteX22" fmla="*/ 0 w 1806488"/>
                <a:gd name="connsiteY22" fmla="*/ 0 h 1031410"/>
                <a:gd name="connsiteX23" fmla="*/ 4124 w 1806488"/>
                <a:gd name="connsiteY23" fmla="*/ 3706 h 1031410"/>
                <a:gd name="connsiteX24" fmla="*/ 903244 w 1806488"/>
                <a:gd name="connsiteY24" fmla="*/ 156530 h 1031410"/>
                <a:gd name="connsiteX25" fmla="*/ 1802364 w 1806488"/>
                <a:gd name="connsiteY25" fmla="*/ 3706 h 1031410"/>
                <a:gd name="connsiteX26" fmla="*/ 1806488 w 1806488"/>
                <a:gd name="connsiteY26" fmla="*/ 0 h 1031410"/>
                <a:gd name="connsiteX27" fmla="*/ 1502618 w 1806488"/>
                <a:gd name="connsiteY27" fmla="*/ 806429 h 1031410"/>
                <a:gd name="connsiteX28" fmla="*/ 1492483 w 1806488"/>
                <a:gd name="connsiteY28" fmla="*/ 770071 h 1031410"/>
                <a:gd name="connsiteX29" fmla="*/ 903243 w 1806488"/>
                <a:gd name="connsiteY29" fmla="*/ 596403 h 1031410"/>
                <a:gd name="connsiteX30" fmla="*/ 314003 w 1806488"/>
                <a:gd name="connsiteY30" fmla="*/ 770071 h 1031410"/>
                <a:gd name="connsiteX31" fmla="*/ 303869 w 1806488"/>
                <a:gd name="connsiteY31" fmla="*/ 806426 h 1031410"/>
                <a:gd name="connsiteX32" fmla="*/ 0 w 1806488"/>
                <a:gd name="connsiteY32"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645915 w 1806488"/>
                <a:gd name="connsiteY13" fmla="*/ 997079 h 1031410"/>
                <a:gd name="connsiteX14" fmla="*/ 624280 w 1806488"/>
                <a:gd name="connsiteY14" fmla="*/ 1005515 h 1031410"/>
                <a:gd name="connsiteX15" fmla="*/ 566961 w 1806488"/>
                <a:gd name="connsiteY15" fmla="*/ 994264 h 1031410"/>
                <a:gd name="connsiteX16" fmla="*/ 349050 w 1806488"/>
                <a:gd name="connsiteY16" fmla="*/ 898569 h 1031410"/>
                <a:gd name="connsiteX17" fmla="*/ 330404 w 1806488"/>
                <a:gd name="connsiteY17" fmla="*/ 876848 h 1031410"/>
                <a:gd name="connsiteX18" fmla="*/ 303869 w 1806488"/>
                <a:gd name="connsiteY18" fmla="*/ 806427 h 1031410"/>
                <a:gd name="connsiteX19" fmla="*/ 314003 w 1806488"/>
                <a:gd name="connsiteY19" fmla="*/ 770072 h 1031410"/>
                <a:gd name="connsiteX20" fmla="*/ 903243 w 1806488"/>
                <a:gd name="connsiteY20" fmla="*/ 596404 h 1031410"/>
                <a:gd name="connsiteX21" fmla="*/ 0 w 1806488"/>
                <a:gd name="connsiteY21" fmla="*/ 0 h 1031410"/>
                <a:gd name="connsiteX22" fmla="*/ 4124 w 1806488"/>
                <a:gd name="connsiteY22" fmla="*/ 3706 h 1031410"/>
                <a:gd name="connsiteX23" fmla="*/ 903244 w 1806488"/>
                <a:gd name="connsiteY23" fmla="*/ 156530 h 1031410"/>
                <a:gd name="connsiteX24" fmla="*/ 1802364 w 1806488"/>
                <a:gd name="connsiteY24" fmla="*/ 3706 h 1031410"/>
                <a:gd name="connsiteX25" fmla="*/ 1806488 w 1806488"/>
                <a:gd name="connsiteY25" fmla="*/ 0 h 1031410"/>
                <a:gd name="connsiteX26" fmla="*/ 1502618 w 1806488"/>
                <a:gd name="connsiteY26" fmla="*/ 806429 h 1031410"/>
                <a:gd name="connsiteX27" fmla="*/ 1492483 w 1806488"/>
                <a:gd name="connsiteY27" fmla="*/ 770071 h 1031410"/>
                <a:gd name="connsiteX28" fmla="*/ 903243 w 1806488"/>
                <a:gd name="connsiteY28" fmla="*/ 596403 h 1031410"/>
                <a:gd name="connsiteX29" fmla="*/ 314003 w 1806488"/>
                <a:gd name="connsiteY29" fmla="*/ 770071 h 1031410"/>
                <a:gd name="connsiteX30" fmla="*/ 303869 w 1806488"/>
                <a:gd name="connsiteY30" fmla="*/ 806426 h 1031410"/>
                <a:gd name="connsiteX31" fmla="*/ 0 w 1806488"/>
                <a:gd name="connsiteY31" fmla="*/ 0 h 103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6488" h="1031410">
                  <a:moveTo>
                    <a:pt x="903243" y="596404"/>
                  </a:moveTo>
                  <a:cubicBezTo>
                    <a:pt x="1193898" y="596404"/>
                    <a:pt x="1436399" y="670960"/>
                    <a:pt x="1492483" y="770072"/>
                  </a:cubicBezTo>
                  <a:lnTo>
                    <a:pt x="1502618" y="806430"/>
                  </a:lnTo>
                  <a:lnTo>
                    <a:pt x="1476085" y="876844"/>
                  </a:lnTo>
                  <a:lnTo>
                    <a:pt x="1457436" y="898569"/>
                  </a:lnTo>
                  <a:cubicBezTo>
                    <a:pt x="1411783" y="937601"/>
                    <a:pt x="1335518" y="970812"/>
                    <a:pt x="1239525" y="994264"/>
                  </a:cubicBezTo>
                  <a:lnTo>
                    <a:pt x="1182208" y="1005515"/>
                  </a:lnTo>
                  <a:lnTo>
                    <a:pt x="1182208" y="1005515"/>
                  </a:lnTo>
                  <a:lnTo>
                    <a:pt x="1137359" y="1014318"/>
                  </a:lnTo>
                  <a:cubicBezTo>
                    <a:pt x="1065402" y="1025324"/>
                    <a:pt x="986288" y="1031410"/>
                    <a:pt x="903244" y="1031410"/>
                  </a:cubicBezTo>
                  <a:cubicBezTo>
                    <a:pt x="820200" y="1031410"/>
                    <a:pt x="741087" y="1025324"/>
                    <a:pt x="669129" y="1014318"/>
                  </a:cubicBezTo>
                  <a:lnTo>
                    <a:pt x="624281" y="1005515"/>
                  </a:lnTo>
                  <a:lnTo>
                    <a:pt x="645916" y="997079"/>
                  </a:lnTo>
                  <a:cubicBezTo>
                    <a:pt x="649522" y="995673"/>
                    <a:pt x="649521" y="995673"/>
                    <a:pt x="645915" y="997079"/>
                  </a:cubicBezTo>
                  <a:lnTo>
                    <a:pt x="624280" y="1005515"/>
                  </a:lnTo>
                  <a:lnTo>
                    <a:pt x="566961" y="994264"/>
                  </a:lnTo>
                  <a:cubicBezTo>
                    <a:pt x="470968" y="970812"/>
                    <a:pt x="394703" y="937601"/>
                    <a:pt x="349050" y="898569"/>
                  </a:cubicBezTo>
                  <a:lnTo>
                    <a:pt x="330404" y="876848"/>
                  </a:lnTo>
                  <a:lnTo>
                    <a:pt x="303869" y="806427"/>
                  </a:lnTo>
                  <a:lnTo>
                    <a:pt x="314003" y="770072"/>
                  </a:lnTo>
                  <a:cubicBezTo>
                    <a:pt x="370087" y="670960"/>
                    <a:pt x="612588" y="596404"/>
                    <a:pt x="903243" y="596404"/>
                  </a:cubicBezTo>
                  <a:close/>
                  <a:moveTo>
                    <a:pt x="0" y="0"/>
                  </a:moveTo>
                  <a:lnTo>
                    <a:pt x="4124" y="3706"/>
                  </a:lnTo>
                  <a:cubicBezTo>
                    <a:pt x="123322" y="92245"/>
                    <a:pt x="480788" y="156530"/>
                    <a:pt x="903244" y="156530"/>
                  </a:cubicBezTo>
                  <a:cubicBezTo>
                    <a:pt x="1325700" y="156530"/>
                    <a:pt x="1683166" y="92245"/>
                    <a:pt x="1802364" y="3706"/>
                  </a:cubicBezTo>
                  <a:lnTo>
                    <a:pt x="1806488" y="0"/>
                  </a:lnTo>
                  <a:lnTo>
                    <a:pt x="1502618" y="806429"/>
                  </a:lnTo>
                  <a:lnTo>
                    <a:pt x="1492483" y="770071"/>
                  </a:lnTo>
                  <a:cubicBezTo>
                    <a:pt x="1436399" y="670959"/>
                    <a:pt x="1193898" y="596403"/>
                    <a:pt x="903243" y="596403"/>
                  </a:cubicBezTo>
                  <a:cubicBezTo>
                    <a:pt x="612588" y="596403"/>
                    <a:pt x="370087" y="670959"/>
                    <a:pt x="314003" y="770071"/>
                  </a:cubicBezTo>
                  <a:lnTo>
                    <a:pt x="303869" y="806426"/>
                  </a:lnTo>
                  <a:lnTo>
                    <a:pt x="0" y="0"/>
                  </a:lnTo>
                  <a:close/>
                </a:path>
              </a:pathLst>
            </a:custGeom>
            <a:gradFill flip="none" rotWithShape="1">
              <a:gsLst>
                <a:gs pos="41000">
                  <a:schemeClr val="accent2"/>
                </a:gs>
                <a:gs pos="78000">
                  <a:schemeClr val="accent2">
                    <a:lumMod val="75000"/>
                  </a:schemeClr>
                </a:gs>
              </a:gsLst>
              <a:path path="circle">
                <a:fillToRect r="100000" b="100000"/>
              </a:path>
              <a:tileRect l="-100000" t="-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DBDFD7A3-37E2-54A9-7AC3-19899D2DE211}"/>
                </a:ext>
              </a:extLst>
            </p:cNvPr>
            <p:cNvSpPr/>
            <p:nvPr/>
          </p:nvSpPr>
          <p:spPr>
            <a:xfrm flipH="1">
              <a:off x="1486234" y="3905876"/>
              <a:ext cx="515184" cy="276999"/>
            </a:xfrm>
            <a:prstGeom prst="rect">
              <a:avLst/>
            </a:prstGeom>
          </p:spPr>
          <p:txBody>
            <a:bodyPr wrap="square" lIns="0" tIns="0" rIns="0" bIns="0" anchor="ctr">
              <a:spAutoFit/>
            </a:bodyPr>
            <a:lstStyle/>
            <a:p>
              <a:pPr algn="ctr"/>
              <a:r>
                <a:rPr lang="en-GB" b="1">
                  <a:solidFill>
                    <a:srgbClr val="FFFFFF"/>
                  </a:solidFill>
                  <a:latin typeface="Arial" panose="020B0604020202020204" pitchFamily="34" charset="0"/>
                  <a:cs typeface="Arial" panose="020B0604020202020204" pitchFamily="34" charset="0"/>
                </a:rPr>
                <a:t>2</a:t>
              </a:r>
              <a:endParaRPr lang="en-GB" sz="800" b="1">
                <a:solidFill>
                  <a:srgbClr val="FFFFFF"/>
                </a:solidFill>
                <a:latin typeface="Arial" panose="020B0604020202020204" pitchFamily="34" charset="0"/>
                <a:cs typeface="Arial" panose="020B0604020202020204" pitchFamily="34" charset="0"/>
              </a:endParaRPr>
            </a:p>
          </p:txBody>
        </p:sp>
      </p:grpSp>
      <p:grpSp>
        <p:nvGrpSpPr>
          <p:cNvPr id="145" name="Group 144">
            <a:extLst>
              <a:ext uri="{FF2B5EF4-FFF2-40B4-BE49-F238E27FC236}">
                <a16:creationId xmlns:a16="http://schemas.microsoft.com/office/drawing/2014/main" id="{76A71BC1-4BF1-FA8A-34D5-4247AA0AE733}"/>
              </a:ext>
            </a:extLst>
          </p:cNvPr>
          <p:cNvGrpSpPr/>
          <p:nvPr/>
        </p:nvGrpSpPr>
        <p:grpSpPr>
          <a:xfrm>
            <a:off x="641358" y="5196917"/>
            <a:ext cx="2208888" cy="1036170"/>
            <a:chOff x="641358" y="5196917"/>
            <a:chExt cx="2208888" cy="1036170"/>
          </a:xfrm>
        </p:grpSpPr>
        <p:sp>
          <p:nvSpPr>
            <p:cNvPr id="49" name="Freeform: Shape 106">
              <a:extLst>
                <a:ext uri="{FF2B5EF4-FFF2-40B4-BE49-F238E27FC236}">
                  <a16:creationId xmlns:a16="http://schemas.microsoft.com/office/drawing/2014/main" id="{ADC78D18-0B13-AE5C-FC98-21BF451E2E61}"/>
                </a:ext>
              </a:extLst>
            </p:cNvPr>
            <p:cNvSpPr/>
            <p:nvPr/>
          </p:nvSpPr>
          <p:spPr>
            <a:xfrm rot="10800000">
              <a:off x="644827" y="5809744"/>
              <a:ext cx="2205419" cy="423343"/>
            </a:xfrm>
            <a:custGeom>
              <a:avLst/>
              <a:gdLst>
                <a:gd name="connsiteX0" fmla="*/ 674350 w 2794895"/>
                <a:gd name="connsiteY0" fmla="*/ 31386 h 435007"/>
                <a:gd name="connsiteX1" fmla="*/ 765075 w 2794895"/>
                <a:gd name="connsiteY1" fmla="*/ 42444 h 435007"/>
                <a:gd name="connsiteX2" fmla="*/ 1397448 w 2794895"/>
                <a:gd name="connsiteY2" fmla="*/ 74747 h 435007"/>
                <a:gd name="connsiteX3" fmla="*/ 2029821 w 2794895"/>
                <a:gd name="connsiteY3" fmla="*/ 42444 h 435007"/>
                <a:gd name="connsiteX4" fmla="*/ 2120546 w 2794895"/>
                <a:gd name="connsiteY4" fmla="*/ 31386 h 435007"/>
                <a:gd name="connsiteX5" fmla="*/ 2181694 w 2794895"/>
                <a:gd name="connsiteY5" fmla="*/ 37147 h 435007"/>
                <a:gd name="connsiteX6" fmla="*/ 2792877 w 2794895"/>
                <a:gd name="connsiteY6" fmla="*/ 195266 h 435007"/>
                <a:gd name="connsiteX7" fmla="*/ 2794895 w 2794895"/>
                <a:gd name="connsiteY7" fmla="*/ 201461 h 435007"/>
                <a:gd name="connsiteX8" fmla="*/ 2772772 w 2794895"/>
                <a:gd name="connsiteY8" fmla="*/ 260171 h 435007"/>
                <a:gd name="connsiteX9" fmla="*/ 2771622 w 2794895"/>
                <a:gd name="connsiteY9" fmla="*/ 261339 h 435007"/>
                <a:gd name="connsiteX10" fmla="*/ 1397447 w 2794895"/>
                <a:gd name="connsiteY10" fmla="*/ 435007 h 435007"/>
                <a:gd name="connsiteX11" fmla="*/ 23272 w 2794895"/>
                <a:gd name="connsiteY11" fmla="*/ 261339 h 435007"/>
                <a:gd name="connsiteX12" fmla="*/ 22125 w 2794895"/>
                <a:gd name="connsiteY12" fmla="*/ 260174 h 435007"/>
                <a:gd name="connsiteX13" fmla="*/ 0 w 2794895"/>
                <a:gd name="connsiteY13" fmla="*/ 201458 h 435007"/>
                <a:gd name="connsiteX14" fmla="*/ 2017 w 2794895"/>
                <a:gd name="connsiteY14" fmla="*/ 195266 h 435007"/>
                <a:gd name="connsiteX15" fmla="*/ 613200 w 2794895"/>
                <a:gd name="connsiteY15" fmla="*/ 37147 h 435007"/>
                <a:gd name="connsiteX16" fmla="*/ 1397447 w 2794895"/>
                <a:gd name="connsiteY16" fmla="*/ 0 h 435007"/>
                <a:gd name="connsiteX17" fmla="*/ 2066044 w 2794895"/>
                <a:gd name="connsiteY17" fmla="*/ 26251 h 435007"/>
                <a:gd name="connsiteX18" fmla="*/ 2120546 w 2794895"/>
                <a:gd name="connsiteY18" fmla="*/ 31385 h 435007"/>
                <a:gd name="connsiteX19" fmla="*/ 2029821 w 2794895"/>
                <a:gd name="connsiteY19" fmla="*/ 42443 h 435007"/>
                <a:gd name="connsiteX20" fmla="*/ 1397448 w 2794895"/>
                <a:gd name="connsiteY20" fmla="*/ 74746 h 435007"/>
                <a:gd name="connsiteX21" fmla="*/ 765075 w 2794895"/>
                <a:gd name="connsiteY21" fmla="*/ 42443 h 435007"/>
                <a:gd name="connsiteX22" fmla="*/ 674350 w 2794895"/>
                <a:gd name="connsiteY22" fmla="*/ 31385 h 435007"/>
                <a:gd name="connsiteX23" fmla="*/ 728850 w 2794895"/>
                <a:gd name="connsiteY23" fmla="*/ 26251 h 435007"/>
                <a:gd name="connsiteX24" fmla="*/ 1397447 w 2794895"/>
                <a:gd name="connsiteY24" fmla="*/ 0 h 43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4895" h="435007">
                  <a:moveTo>
                    <a:pt x="674350" y="31386"/>
                  </a:moveTo>
                  <a:lnTo>
                    <a:pt x="765075" y="42444"/>
                  </a:lnTo>
                  <a:cubicBezTo>
                    <a:pt x="959441" y="63245"/>
                    <a:pt x="1173136" y="74747"/>
                    <a:pt x="1397448" y="74747"/>
                  </a:cubicBezTo>
                  <a:cubicBezTo>
                    <a:pt x="1621761" y="74747"/>
                    <a:pt x="1835455" y="63245"/>
                    <a:pt x="2029821" y="42444"/>
                  </a:cubicBezTo>
                  <a:lnTo>
                    <a:pt x="2120546" y="31386"/>
                  </a:lnTo>
                  <a:lnTo>
                    <a:pt x="2181694" y="37147"/>
                  </a:lnTo>
                  <a:cubicBezTo>
                    <a:pt x="2517496" y="72325"/>
                    <a:pt x="2749779" y="129459"/>
                    <a:pt x="2792877" y="195266"/>
                  </a:cubicBezTo>
                  <a:lnTo>
                    <a:pt x="2794895" y="201461"/>
                  </a:lnTo>
                  <a:lnTo>
                    <a:pt x="2772772" y="260171"/>
                  </a:lnTo>
                  <a:lnTo>
                    <a:pt x="2771622" y="261339"/>
                  </a:lnTo>
                  <a:cubicBezTo>
                    <a:pt x="2640828" y="360451"/>
                    <a:pt x="2075287" y="435007"/>
                    <a:pt x="1397447" y="435007"/>
                  </a:cubicBezTo>
                  <a:cubicBezTo>
                    <a:pt x="719607" y="435007"/>
                    <a:pt x="154066" y="360451"/>
                    <a:pt x="23272" y="261339"/>
                  </a:cubicBezTo>
                  <a:lnTo>
                    <a:pt x="22125" y="260174"/>
                  </a:lnTo>
                  <a:lnTo>
                    <a:pt x="0" y="201458"/>
                  </a:lnTo>
                  <a:lnTo>
                    <a:pt x="2017" y="195266"/>
                  </a:lnTo>
                  <a:cubicBezTo>
                    <a:pt x="45115" y="129459"/>
                    <a:pt x="277398" y="72325"/>
                    <a:pt x="613200" y="37147"/>
                  </a:cubicBezTo>
                  <a:close/>
                  <a:moveTo>
                    <a:pt x="1397447" y="0"/>
                  </a:moveTo>
                  <a:cubicBezTo>
                    <a:pt x="1639533" y="0"/>
                    <a:pt x="1867295" y="9510"/>
                    <a:pt x="2066044" y="26251"/>
                  </a:cubicBezTo>
                  <a:lnTo>
                    <a:pt x="2120546" y="31385"/>
                  </a:lnTo>
                  <a:lnTo>
                    <a:pt x="2029821" y="42443"/>
                  </a:lnTo>
                  <a:cubicBezTo>
                    <a:pt x="1835455" y="63244"/>
                    <a:pt x="1621761" y="74746"/>
                    <a:pt x="1397448" y="74746"/>
                  </a:cubicBezTo>
                  <a:cubicBezTo>
                    <a:pt x="1173136" y="74746"/>
                    <a:pt x="959441" y="63244"/>
                    <a:pt x="765075" y="42443"/>
                  </a:cubicBezTo>
                  <a:lnTo>
                    <a:pt x="674350" y="31385"/>
                  </a:lnTo>
                  <a:lnTo>
                    <a:pt x="728850" y="26251"/>
                  </a:lnTo>
                  <a:cubicBezTo>
                    <a:pt x="927599" y="9510"/>
                    <a:pt x="1155362" y="0"/>
                    <a:pt x="1397447" y="0"/>
                  </a:cubicBezTo>
                  <a:close/>
                </a:path>
              </a:pathLst>
            </a:custGeom>
            <a:gradFill flip="none" rotWithShape="1">
              <a:gsLst>
                <a:gs pos="0">
                  <a:schemeClr val="accent4"/>
                </a:gs>
                <a:gs pos="78000">
                  <a:schemeClr val="accent4">
                    <a:lumMod val="75000"/>
                  </a:schemeClr>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50" name="Freeform: Shape 109">
              <a:extLst>
                <a:ext uri="{FF2B5EF4-FFF2-40B4-BE49-F238E27FC236}">
                  <a16:creationId xmlns:a16="http://schemas.microsoft.com/office/drawing/2014/main" id="{21647B2E-7714-4494-29AA-90E4CDA4207A}"/>
                </a:ext>
              </a:extLst>
            </p:cNvPr>
            <p:cNvSpPr/>
            <p:nvPr/>
          </p:nvSpPr>
          <p:spPr>
            <a:xfrm rot="10800000">
              <a:off x="641358" y="5196917"/>
              <a:ext cx="2208888" cy="806999"/>
            </a:xfrm>
            <a:custGeom>
              <a:avLst/>
              <a:gdLst>
                <a:gd name="connsiteX0" fmla="*/ 1375323 w 2750647"/>
                <a:gd name="connsiteY0" fmla="*/ 974357 h 1048343"/>
                <a:gd name="connsiteX1" fmla="*/ 1901694 w 2750647"/>
                <a:gd name="connsiteY1" fmla="*/ 1011503 h 1048343"/>
                <a:gd name="connsiteX2" fmla="*/ 1926142 w 2750647"/>
                <a:gd name="connsiteY2" fmla="*/ 1016163 h 1048343"/>
                <a:gd name="connsiteX3" fmla="*/ 1789994 w 2750647"/>
                <a:gd name="connsiteY3" fmla="*/ 1031251 h 1048343"/>
                <a:gd name="connsiteX4" fmla="*/ 1375323 w 2750647"/>
                <a:gd name="connsiteY4" fmla="*/ 1048343 h 1048343"/>
                <a:gd name="connsiteX5" fmla="*/ 960652 w 2750647"/>
                <a:gd name="connsiteY5" fmla="*/ 1031251 h 1048343"/>
                <a:gd name="connsiteX6" fmla="*/ 824505 w 2750647"/>
                <a:gd name="connsiteY6" fmla="*/ 1016163 h 1048343"/>
                <a:gd name="connsiteX7" fmla="*/ 848952 w 2750647"/>
                <a:gd name="connsiteY7" fmla="*/ 1011503 h 1048343"/>
                <a:gd name="connsiteX8" fmla="*/ 1375323 w 2750647"/>
                <a:gd name="connsiteY8" fmla="*/ 974357 h 1048343"/>
                <a:gd name="connsiteX9" fmla="*/ 2750647 w 2750647"/>
                <a:gd name="connsiteY9" fmla="*/ 0 h 1048343"/>
                <a:gd name="connsiteX10" fmla="*/ 2439429 w 2750647"/>
                <a:gd name="connsiteY10" fmla="*/ 825927 h 1048343"/>
                <a:gd name="connsiteX11" fmla="*/ 2423156 w 2750647"/>
                <a:gd name="connsiteY11" fmla="*/ 869114 h 1048343"/>
                <a:gd name="connsiteX12" fmla="*/ 2419000 w 2750647"/>
                <a:gd name="connsiteY12" fmla="*/ 874674 h 1048343"/>
                <a:gd name="connsiteX13" fmla="*/ 1970954 w 2750647"/>
                <a:gd name="connsiteY13" fmla="*/ 1011196 h 1048343"/>
                <a:gd name="connsiteX14" fmla="*/ 1926142 w 2750647"/>
                <a:gd name="connsiteY14" fmla="*/ 1016162 h 1048343"/>
                <a:gd name="connsiteX15" fmla="*/ 1901694 w 2750647"/>
                <a:gd name="connsiteY15" fmla="*/ 1011502 h 1048343"/>
                <a:gd name="connsiteX16" fmla="*/ 1375323 w 2750647"/>
                <a:gd name="connsiteY16" fmla="*/ 974356 h 1048343"/>
                <a:gd name="connsiteX17" fmla="*/ 848952 w 2750647"/>
                <a:gd name="connsiteY17" fmla="*/ 1011502 h 1048343"/>
                <a:gd name="connsiteX18" fmla="*/ 824504 w 2750647"/>
                <a:gd name="connsiteY18" fmla="*/ 1016162 h 1048343"/>
                <a:gd name="connsiteX19" fmla="*/ 779692 w 2750647"/>
                <a:gd name="connsiteY19" fmla="*/ 1011196 h 1048343"/>
                <a:gd name="connsiteX20" fmla="*/ 331646 w 2750647"/>
                <a:gd name="connsiteY20" fmla="*/ 874674 h 1048343"/>
                <a:gd name="connsiteX21" fmla="*/ 327490 w 2750647"/>
                <a:gd name="connsiteY21" fmla="*/ 869114 h 1048343"/>
                <a:gd name="connsiteX22" fmla="*/ 311217 w 2750647"/>
                <a:gd name="connsiteY22" fmla="*/ 825927 h 1048343"/>
                <a:gd name="connsiteX23" fmla="*/ 0 w 2750647"/>
                <a:gd name="connsiteY23" fmla="*/ 3 h 1048343"/>
                <a:gd name="connsiteX24" fmla="*/ 1147 w 2750647"/>
                <a:gd name="connsiteY24" fmla="*/ 1168 h 1048343"/>
                <a:gd name="connsiteX25" fmla="*/ 1375322 w 2750647"/>
                <a:gd name="connsiteY25" fmla="*/ 174836 h 1048343"/>
                <a:gd name="connsiteX26" fmla="*/ 2749497 w 2750647"/>
                <a:gd name="connsiteY26" fmla="*/ 1168 h 104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0647" h="1048343">
                  <a:moveTo>
                    <a:pt x="1375323" y="974357"/>
                  </a:moveTo>
                  <a:cubicBezTo>
                    <a:pt x="1570303" y="974357"/>
                    <a:pt x="1751439" y="988051"/>
                    <a:pt x="1901694" y="1011503"/>
                  </a:cubicBezTo>
                  <a:lnTo>
                    <a:pt x="1926142" y="1016163"/>
                  </a:lnTo>
                  <a:lnTo>
                    <a:pt x="1789994" y="1031251"/>
                  </a:lnTo>
                  <a:cubicBezTo>
                    <a:pt x="1662541" y="1042257"/>
                    <a:pt x="1522414" y="1048343"/>
                    <a:pt x="1375323" y="1048343"/>
                  </a:cubicBezTo>
                  <a:cubicBezTo>
                    <a:pt x="1228233" y="1048343"/>
                    <a:pt x="1088105" y="1042257"/>
                    <a:pt x="960652" y="1031251"/>
                  </a:cubicBezTo>
                  <a:lnTo>
                    <a:pt x="824505" y="1016163"/>
                  </a:lnTo>
                  <a:lnTo>
                    <a:pt x="848952" y="1011503"/>
                  </a:lnTo>
                  <a:cubicBezTo>
                    <a:pt x="999208" y="988051"/>
                    <a:pt x="1180344" y="974357"/>
                    <a:pt x="1375323" y="974357"/>
                  </a:cubicBezTo>
                  <a:close/>
                  <a:moveTo>
                    <a:pt x="2750647" y="0"/>
                  </a:moveTo>
                  <a:lnTo>
                    <a:pt x="2439429" y="825927"/>
                  </a:lnTo>
                  <a:lnTo>
                    <a:pt x="2423156" y="869114"/>
                  </a:lnTo>
                  <a:lnTo>
                    <a:pt x="2419000" y="874674"/>
                  </a:lnTo>
                  <a:cubicBezTo>
                    <a:pt x="2362237" y="931309"/>
                    <a:pt x="2197656" y="979926"/>
                    <a:pt x="1970954" y="1011196"/>
                  </a:cubicBezTo>
                  <a:lnTo>
                    <a:pt x="1926142" y="1016162"/>
                  </a:lnTo>
                  <a:lnTo>
                    <a:pt x="1901694" y="1011502"/>
                  </a:lnTo>
                  <a:cubicBezTo>
                    <a:pt x="1751439" y="988050"/>
                    <a:pt x="1570303" y="974356"/>
                    <a:pt x="1375323" y="974356"/>
                  </a:cubicBezTo>
                  <a:cubicBezTo>
                    <a:pt x="1180343" y="974356"/>
                    <a:pt x="999208" y="988050"/>
                    <a:pt x="848952" y="1011502"/>
                  </a:cubicBezTo>
                  <a:lnTo>
                    <a:pt x="824504" y="1016162"/>
                  </a:lnTo>
                  <a:lnTo>
                    <a:pt x="779692" y="1011196"/>
                  </a:lnTo>
                  <a:cubicBezTo>
                    <a:pt x="552990" y="979926"/>
                    <a:pt x="388409" y="931309"/>
                    <a:pt x="331646" y="874674"/>
                  </a:cubicBezTo>
                  <a:lnTo>
                    <a:pt x="327490" y="869114"/>
                  </a:lnTo>
                  <a:lnTo>
                    <a:pt x="311217" y="825927"/>
                  </a:lnTo>
                  <a:lnTo>
                    <a:pt x="0" y="3"/>
                  </a:lnTo>
                  <a:lnTo>
                    <a:pt x="1147" y="1168"/>
                  </a:lnTo>
                  <a:cubicBezTo>
                    <a:pt x="131941" y="100280"/>
                    <a:pt x="697482" y="174836"/>
                    <a:pt x="1375322" y="174836"/>
                  </a:cubicBezTo>
                  <a:cubicBezTo>
                    <a:pt x="2053162" y="174836"/>
                    <a:pt x="2618703" y="100280"/>
                    <a:pt x="2749497" y="1168"/>
                  </a:cubicBezTo>
                  <a:close/>
                </a:path>
              </a:pathLst>
            </a:custGeom>
            <a:gradFill flip="none" rotWithShape="1">
              <a:gsLst>
                <a:gs pos="46000">
                  <a:schemeClr val="accent4"/>
                </a:gs>
                <a:gs pos="78000">
                  <a:schemeClr val="accent4">
                    <a:lumMod val="75000"/>
                  </a:schemeClr>
                </a:gs>
              </a:gsLst>
              <a:path path="circle">
                <a:fillToRect r="100000" b="100000"/>
              </a:path>
              <a:tileRect l="-100000" t="-10000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AC3BFCB9-C509-C23A-7CF2-0AAA8C8BC53B}"/>
                </a:ext>
              </a:extLst>
            </p:cNvPr>
            <p:cNvSpPr/>
            <p:nvPr/>
          </p:nvSpPr>
          <p:spPr>
            <a:xfrm flipH="1">
              <a:off x="1492810" y="5425038"/>
              <a:ext cx="515184" cy="276999"/>
            </a:xfrm>
            <a:prstGeom prst="rect">
              <a:avLst/>
            </a:prstGeom>
          </p:spPr>
          <p:txBody>
            <a:bodyPr wrap="square" lIns="0" tIns="0" rIns="0" bIns="0" anchor="ctr">
              <a:spAutoFit/>
            </a:bodyPr>
            <a:lstStyle/>
            <a:p>
              <a:pPr algn="ctr"/>
              <a:r>
                <a:rPr lang="en-GB" b="1">
                  <a:solidFill>
                    <a:srgbClr val="FFFFFF"/>
                  </a:solidFill>
                  <a:latin typeface="Arial" panose="020B0604020202020204" pitchFamily="34" charset="0"/>
                  <a:cs typeface="Arial" panose="020B0604020202020204" pitchFamily="34" charset="0"/>
                </a:rPr>
                <a:t>3</a:t>
              </a:r>
              <a:endParaRPr lang="en-GB" sz="800" b="1">
                <a:solidFill>
                  <a:srgbClr val="FFFFFF"/>
                </a:solidFill>
                <a:latin typeface="Arial" panose="020B0604020202020204" pitchFamily="34" charset="0"/>
                <a:cs typeface="Arial" panose="020B0604020202020204" pitchFamily="34" charset="0"/>
              </a:endParaRPr>
            </a:p>
          </p:txBody>
        </p:sp>
      </p:grpSp>
      <p:sp>
        <p:nvSpPr>
          <p:cNvPr id="56" name="TextBox 37">
            <a:extLst>
              <a:ext uri="{FF2B5EF4-FFF2-40B4-BE49-F238E27FC236}">
                <a16:creationId xmlns:a16="http://schemas.microsoft.com/office/drawing/2014/main" id="{367E6AFA-FB70-B411-DF1E-1B614C6F4835}"/>
              </a:ext>
            </a:extLst>
          </p:cNvPr>
          <p:cNvSpPr txBox="1"/>
          <p:nvPr/>
        </p:nvSpPr>
        <p:spPr>
          <a:xfrm>
            <a:off x="4278007" y="5182856"/>
            <a:ext cx="7482108" cy="1015663"/>
          </a:xfrm>
          <a:prstGeom prst="rect">
            <a:avLst/>
          </a:prstGeom>
          <a:noFill/>
        </p:spPr>
        <p:txBody>
          <a:bodyPr wrap="square" rtlCol="0">
            <a:spAutoFit/>
          </a:bodyPr>
          <a:lstStyle/>
          <a:p>
            <a:r>
              <a:rPr lang="en-GB" sz="1200" b="1" u="sng" dirty="0">
                <a:latin typeface="Arial" panose="020B0604020202020204" pitchFamily="34" charset="0"/>
                <a:cs typeface="Arial" panose="020B0604020202020204" pitchFamily="34" charset="0"/>
              </a:rPr>
              <a:t>Tier 3: Third Party Support </a:t>
            </a:r>
          </a:p>
          <a:p>
            <a:pPr marL="171450" indent="-171450">
              <a:buSzPct val="84000"/>
              <a:buFont typeface="Wingdings" panose="05000000000000000000" pitchFamily="2" charset="2"/>
              <a:buChar char="§"/>
            </a:pPr>
            <a:r>
              <a:rPr lang="en-GB" sz="1100" dirty="0">
                <a:latin typeface="Arial" panose="020B0604020202020204" pitchFamily="34" charset="0"/>
                <a:cs typeface="Arial" panose="020B0604020202020204" pitchFamily="34" charset="0"/>
              </a:rPr>
              <a:t>Third party organisations that are likely to have a limited influence or impact in increasing the uptake of energy efficiency flexibility and will therefore be involved in Flex Direct in a relatively restricted capacity. </a:t>
            </a:r>
          </a:p>
          <a:p>
            <a:pPr>
              <a:buSzPct val="84000"/>
            </a:pPr>
            <a:endParaRPr lang="en-GB" sz="400" dirty="0">
              <a:latin typeface="Arial" panose="020B0604020202020204" pitchFamily="34" charset="0"/>
              <a:cs typeface="Arial" panose="020B0604020202020204" pitchFamily="34" charset="0"/>
            </a:endParaRPr>
          </a:p>
          <a:p>
            <a:r>
              <a:rPr lang="en-GB" sz="1100" b="1" i="1" dirty="0">
                <a:solidFill>
                  <a:srgbClr val="BD281E"/>
                </a:solidFill>
                <a:latin typeface="Arial" panose="020B0604020202020204" pitchFamily="34" charset="0"/>
                <a:cs typeface="Arial" panose="020B0604020202020204" pitchFamily="34" charset="0"/>
              </a:rPr>
              <a:t>Example: Community Energy Groups, Research Institutions and Think Tanks, Manufacturers of Energy Efficiency Technologies, Financial Institutions, Trade Associations and Non-Governmental Organisations</a:t>
            </a:r>
          </a:p>
        </p:txBody>
      </p:sp>
      <p:sp>
        <p:nvSpPr>
          <p:cNvPr id="141" name="TextBox 140">
            <a:extLst>
              <a:ext uri="{FF2B5EF4-FFF2-40B4-BE49-F238E27FC236}">
                <a16:creationId xmlns:a16="http://schemas.microsoft.com/office/drawing/2014/main" id="{5E31692E-B895-46C3-B111-3BF04EA87930}"/>
              </a:ext>
            </a:extLst>
          </p:cNvPr>
          <p:cNvSpPr txBox="1"/>
          <p:nvPr/>
        </p:nvSpPr>
        <p:spPr>
          <a:xfrm>
            <a:off x="524415" y="1090553"/>
            <a:ext cx="11235700" cy="584775"/>
          </a:xfrm>
          <a:prstGeom prst="rect">
            <a:avLst/>
          </a:prstGeom>
          <a:noFill/>
        </p:spPr>
        <p:txBody>
          <a:bodyPr wrap="square">
            <a:spAutoFit/>
          </a:bodyPr>
          <a:lstStyle/>
          <a:p>
            <a:r>
              <a:rPr lang="en-GB" sz="1600" b="1" dirty="0">
                <a:latin typeface="Arial" panose="020B0604020202020204" pitchFamily="34" charset="0"/>
                <a:cs typeface="Arial" panose="020B0604020202020204" pitchFamily="34" charset="0"/>
              </a:rPr>
              <a:t>Stakeholders were categorised based on their influence, strategic significance and impact on energy efficiency and flexibility markets to help focus efforts during further engagement in Alpha </a:t>
            </a:r>
          </a:p>
        </p:txBody>
      </p:sp>
      <p:pic>
        <p:nvPicPr>
          <p:cNvPr id="7" name="Picture 6" descr="Sia Partners Introduces SiaGPT | Business Wire">
            <a:extLst>
              <a:ext uri="{FF2B5EF4-FFF2-40B4-BE49-F238E27FC236}">
                <a16:creationId xmlns:a16="http://schemas.microsoft.com/office/drawing/2014/main" id="{64A8DF5A-379E-B53A-284E-B6EF18EEED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5571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142" name="Rectangle 141">
            <a:extLst>
              <a:ext uri="{FF2B5EF4-FFF2-40B4-BE49-F238E27FC236}">
                <a16:creationId xmlns:a16="http://schemas.microsoft.com/office/drawing/2014/main" id="{A0DA6425-6DC0-6D2B-59A5-F934DFD887F5}"/>
              </a:ext>
            </a:extLst>
          </p:cNvPr>
          <p:cNvSpPr/>
          <p:nvPr/>
        </p:nvSpPr>
        <p:spPr>
          <a:xfrm>
            <a:off x="9343303" y="5244582"/>
            <a:ext cx="2825340" cy="15481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a:bodyPr>
          <a:lstStyle/>
          <a:p>
            <a:r>
              <a:rPr lang="en-GB" sz="2800" dirty="0"/>
              <a:t>Work Package 3: Value Analysis </a:t>
            </a:r>
          </a:p>
        </p:txBody>
      </p:sp>
      <p:sp>
        <p:nvSpPr>
          <p:cNvPr id="9" name="Rectangle: Rounded Corners 8">
            <a:extLst>
              <a:ext uri="{FF2B5EF4-FFF2-40B4-BE49-F238E27FC236}">
                <a16:creationId xmlns:a16="http://schemas.microsoft.com/office/drawing/2014/main" id="{F2A847F5-76A6-DB8D-0FBA-E6C8900A5959}"/>
              </a:ext>
            </a:extLst>
          </p:cNvPr>
          <p:cNvSpPr/>
          <p:nvPr/>
        </p:nvSpPr>
        <p:spPr>
          <a:xfrm>
            <a:off x="2309919" y="1794163"/>
            <a:ext cx="8991667" cy="1499691"/>
          </a:xfrm>
          <a:prstGeom prst="roundRect">
            <a:avLst>
              <a:gd name="adj" fmla="val 13193"/>
            </a:avLst>
          </a:prstGeom>
          <a:solidFill>
            <a:srgbClr val="FFC5C5"/>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grpSp>
        <p:nvGrpSpPr>
          <p:cNvPr id="39" name="Group 96">
            <a:extLst>
              <a:ext uri="{FF2B5EF4-FFF2-40B4-BE49-F238E27FC236}">
                <a16:creationId xmlns:a16="http://schemas.microsoft.com/office/drawing/2014/main" id="{2D85DDC3-7168-8186-6240-5466F67EA0A3}"/>
              </a:ext>
            </a:extLst>
          </p:cNvPr>
          <p:cNvGrpSpPr/>
          <p:nvPr/>
        </p:nvGrpSpPr>
        <p:grpSpPr>
          <a:xfrm flipH="1">
            <a:off x="1028704" y="2001323"/>
            <a:ext cx="1164414" cy="45719"/>
            <a:chOff x="3455541" y="2086761"/>
            <a:chExt cx="1311657" cy="49521"/>
          </a:xfrm>
        </p:grpSpPr>
        <p:sp>
          <p:nvSpPr>
            <p:cNvPr id="40" name="Oval 97">
              <a:extLst>
                <a:ext uri="{FF2B5EF4-FFF2-40B4-BE49-F238E27FC236}">
                  <a16:creationId xmlns:a16="http://schemas.microsoft.com/office/drawing/2014/main" id="{2FFEEF6A-97F3-6C30-0300-2BE72BFBE063}"/>
                </a:ext>
              </a:extLst>
            </p:cNvPr>
            <p:cNvSpPr/>
            <p:nvPr/>
          </p:nvSpPr>
          <p:spPr>
            <a:xfrm>
              <a:off x="3455541" y="2086761"/>
              <a:ext cx="51500" cy="49521"/>
            </a:xfrm>
            <a:prstGeom prst="ellipse">
              <a:avLst/>
            </a:prstGeom>
            <a:noFill/>
            <a:ln w="25400" cap="flat" cmpd="sng" algn="ctr">
              <a:solidFill>
                <a:srgbClr val="BD281E"/>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cxnSp>
          <p:nvCxnSpPr>
            <p:cNvPr id="41" name="Straight Arrow Connector 98">
              <a:extLst>
                <a:ext uri="{FF2B5EF4-FFF2-40B4-BE49-F238E27FC236}">
                  <a16:creationId xmlns:a16="http://schemas.microsoft.com/office/drawing/2014/main" id="{6F95D992-7508-D893-CAAD-B6694B669A49}"/>
                </a:ext>
              </a:extLst>
            </p:cNvPr>
            <p:cNvCxnSpPr>
              <a:cxnSpLocks/>
            </p:cNvCxnSpPr>
            <p:nvPr/>
          </p:nvCxnSpPr>
          <p:spPr>
            <a:xfrm>
              <a:off x="3510077" y="2111521"/>
              <a:ext cx="1257121" cy="0"/>
            </a:xfrm>
            <a:prstGeom prst="straightConnector1">
              <a:avLst/>
            </a:prstGeom>
            <a:noFill/>
            <a:ln w="12700" cap="flat" cmpd="sng" algn="ctr">
              <a:solidFill>
                <a:srgbClr val="BD281E"/>
              </a:solidFill>
              <a:prstDash val="solid"/>
              <a:headEnd type="none" w="med" len="med"/>
              <a:tailEnd type="none" w="med" len="med"/>
            </a:ln>
            <a:effectLst/>
          </p:spPr>
        </p:cxnSp>
      </p:grpSp>
      <p:sp>
        <p:nvSpPr>
          <p:cNvPr id="43" name="TextBox 37">
            <a:extLst>
              <a:ext uri="{FF2B5EF4-FFF2-40B4-BE49-F238E27FC236}">
                <a16:creationId xmlns:a16="http://schemas.microsoft.com/office/drawing/2014/main" id="{0E838430-7344-EEAB-3957-71A8BAF9CD8C}"/>
              </a:ext>
            </a:extLst>
          </p:cNvPr>
          <p:cNvSpPr txBox="1"/>
          <p:nvPr/>
        </p:nvSpPr>
        <p:spPr>
          <a:xfrm>
            <a:off x="2383064" y="1864194"/>
            <a:ext cx="8917259"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ier 1: Direct invol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 b="1" i="0" u="sng"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Pct val="84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rganisations that will have a primary role in increasing the uptake of energy efficiency flexibility due to their business needs, level of interest and strategic significance. </a:t>
            </a:r>
          </a:p>
          <a:p>
            <a:pPr marL="171450" marR="0" lvl="0" indent="-171450" algn="l" defTabSz="914400" rtl="0" eaLnBrk="1" fontAlgn="auto" latinLnBrk="0" hangingPunct="1">
              <a:lnSpc>
                <a:spcPct val="100000"/>
              </a:lnSpc>
              <a:spcBef>
                <a:spcPts val="0"/>
              </a:spcBef>
              <a:spcAft>
                <a:spcPts val="0"/>
              </a:spcAft>
              <a:buClrTx/>
              <a:buSzPct val="84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kely to be directly involved in the delivery of new commercial arrangements and will be prioritised for further engagement and participation during Alpha. Further details on the stakeholders outlined in this tier are covered on the next slide. </a:t>
            </a:r>
          </a:p>
          <a:p>
            <a:pPr marL="0" marR="0" lvl="0" indent="0" algn="l" defTabSz="914400" rtl="0" eaLnBrk="1" fontAlgn="auto" latinLnBrk="0" hangingPunct="1">
              <a:lnSpc>
                <a:spcPct val="100000"/>
              </a:lnSpc>
              <a:spcBef>
                <a:spcPts val="0"/>
              </a:spcBef>
              <a:spcAft>
                <a:spcPts val="0"/>
              </a:spcAft>
              <a:buClrTx/>
              <a:buSzPct val="84000"/>
              <a:buFontTx/>
              <a:buNone/>
              <a:tabLst/>
              <a:defRPr/>
            </a:pPr>
            <a:endParaRPr kumimoji="0" lang="en-GB" sz="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a:ln>
                  <a:noFill/>
                </a:ln>
                <a:solidFill>
                  <a:srgbClr val="BD281E"/>
                </a:solidFill>
                <a:effectLst/>
                <a:uLnTx/>
                <a:uFillTx/>
                <a:latin typeface="Arial" panose="020B0604020202020204" pitchFamily="34" charset="0"/>
                <a:cs typeface="Arial" panose="020B0604020202020204" pitchFamily="34" charset="0"/>
              </a:rPr>
              <a:t>Example: DSOs, Local Authorities, Social Housing Providers, Energy Management Companies, Flexibility Providers</a:t>
            </a:r>
            <a:endPar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nvGrpSpPr>
          <p:cNvPr id="143" name="Group 142">
            <a:extLst>
              <a:ext uri="{FF2B5EF4-FFF2-40B4-BE49-F238E27FC236}">
                <a16:creationId xmlns:a16="http://schemas.microsoft.com/office/drawing/2014/main" id="{277D5CBC-E3C6-A4FE-AD9A-13CFFF2612BA}"/>
              </a:ext>
            </a:extLst>
          </p:cNvPr>
          <p:cNvGrpSpPr/>
          <p:nvPr/>
        </p:nvGrpSpPr>
        <p:grpSpPr>
          <a:xfrm>
            <a:off x="945076" y="1846669"/>
            <a:ext cx="261414" cy="381683"/>
            <a:chOff x="1445256" y="2324366"/>
            <a:chExt cx="678657" cy="990653"/>
          </a:xfrm>
          <a:effectLst>
            <a:glow rad="139700">
              <a:schemeClr val="accent2">
                <a:satMod val="175000"/>
                <a:alpha val="40000"/>
              </a:schemeClr>
            </a:glow>
          </a:effectLst>
        </p:grpSpPr>
        <p:sp>
          <p:nvSpPr>
            <p:cNvPr id="45" name="Freeform: Shape 67">
              <a:extLst>
                <a:ext uri="{FF2B5EF4-FFF2-40B4-BE49-F238E27FC236}">
                  <a16:creationId xmlns:a16="http://schemas.microsoft.com/office/drawing/2014/main" id="{02AD4CFF-2A21-8389-1399-88DD4CB2E691}"/>
                </a:ext>
              </a:extLst>
            </p:cNvPr>
            <p:cNvSpPr/>
            <p:nvPr/>
          </p:nvSpPr>
          <p:spPr>
            <a:xfrm rot="10800000">
              <a:off x="1445256" y="2905356"/>
              <a:ext cx="678657" cy="409663"/>
            </a:xfrm>
            <a:custGeom>
              <a:avLst/>
              <a:gdLst>
                <a:gd name="connsiteX0" fmla="*/ 460003 w 920008"/>
                <a:gd name="connsiteY0" fmla="*/ 0 h 435005"/>
                <a:gd name="connsiteX1" fmla="*/ 717332 w 920008"/>
                <a:gd name="connsiteY1" fmla="*/ 37146 h 435005"/>
                <a:gd name="connsiteX2" fmla="*/ 738965 w 920008"/>
                <a:gd name="connsiteY2" fmla="*/ 45582 h 435005"/>
                <a:gd name="connsiteX3" fmla="*/ 738967 w 920008"/>
                <a:gd name="connsiteY3" fmla="*/ 45581 h 435005"/>
                <a:gd name="connsiteX4" fmla="*/ 785447 w 920008"/>
                <a:gd name="connsiteY4" fmla="*/ 63704 h 435005"/>
                <a:gd name="connsiteX5" fmla="*/ 910899 w 920008"/>
                <a:gd name="connsiteY5" fmla="*/ 173667 h 435005"/>
                <a:gd name="connsiteX6" fmla="*/ 920008 w 920008"/>
                <a:gd name="connsiteY6" fmla="*/ 216365 h 435005"/>
                <a:gd name="connsiteX7" fmla="*/ 892517 w 920008"/>
                <a:gd name="connsiteY7" fmla="*/ 289322 h 435005"/>
                <a:gd name="connsiteX8" fmla="*/ 884081 w 920008"/>
                <a:gd name="connsiteY8" fmla="*/ 302164 h 435005"/>
                <a:gd name="connsiteX9" fmla="*/ 460003 w 920008"/>
                <a:gd name="connsiteY9" fmla="*/ 435005 h 435005"/>
                <a:gd name="connsiteX10" fmla="*/ 35925 w 920008"/>
                <a:gd name="connsiteY10" fmla="*/ 302164 h 435005"/>
                <a:gd name="connsiteX11" fmla="*/ 27494 w 920008"/>
                <a:gd name="connsiteY11" fmla="*/ 289329 h 435005"/>
                <a:gd name="connsiteX12" fmla="*/ 0 w 920008"/>
                <a:gd name="connsiteY12" fmla="*/ 216362 h 435005"/>
                <a:gd name="connsiteX13" fmla="*/ 9107 w 920008"/>
                <a:gd name="connsiteY13" fmla="*/ 173667 h 435005"/>
                <a:gd name="connsiteX14" fmla="*/ 134559 w 920008"/>
                <a:gd name="connsiteY14" fmla="*/ 63704 h 435005"/>
                <a:gd name="connsiteX15" fmla="*/ 181040 w 920008"/>
                <a:gd name="connsiteY15" fmla="*/ 45581 h 435005"/>
                <a:gd name="connsiteX16" fmla="*/ 181042 w 920008"/>
                <a:gd name="connsiteY16" fmla="*/ 45582 h 435005"/>
                <a:gd name="connsiteX17" fmla="*/ 202675 w 920008"/>
                <a:gd name="connsiteY17" fmla="*/ 37146 h 435005"/>
                <a:gd name="connsiteX18" fmla="*/ 460003 w 920008"/>
                <a:gd name="connsiteY18" fmla="*/ 0 h 4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0008" h="435005">
                  <a:moveTo>
                    <a:pt x="460003" y="0"/>
                  </a:moveTo>
                  <a:cubicBezTo>
                    <a:pt x="555323" y="0"/>
                    <a:pt x="643876" y="13694"/>
                    <a:pt x="717332" y="37146"/>
                  </a:cubicBezTo>
                  <a:lnTo>
                    <a:pt x="738965" y="45582"/>
                  </a:lnTo>
                  <a:lnTo>
                    <a:pt x="738967" y="45581"/>
                  </a:lnTo>
                  <a:lnTo>
                    <a:pt x="785447" y="63704"/>
                  </a:lnTo>
                  <a:cubicBezTo>
                    <a:pt x="847913" y="93224"/>
                    <a:pt x="892507" y="131191"/>
                    <a:pt x="910899" y="173667"/>
                  </a:cubicBezTo>
                  <a:lnTo>
                    <a:pt x="920008" y="216365"/>
                  </a:lnTo>
                  <a:lnTo>
                    <a:pt x="892517" y="289322"/>
                  </a:lnTo>
                  <a:lnTo>
                    <a:pt x="884081" y="302164"/>
                  </a:lnTo>
                  <a:cubicBezTo>
                    <a:pt x="814212" y="380230"/>
                    <a:pt x="650643" y="435005"/>
                    <a:pt x="460003" y="435005"/>
                  </a:cubicBezTo>
                  <a:cubicBezTo>
                    <a:pt x="269363" y="435005"/>
                    <a:pt x="105794" y="380230"/>
                    <a:pt x="35925" y="302164"/>
                  </a:cubicBezTo>
                  <a:lnTo>
                    <a:pt x="27494" y="289329"/>
                  </a:lnTo>
                  <a:lnTo>
                    <a:pt x="0" y="216362"/>
                  </a:lnTo>
                  <a:lnTo>
                    <a:pt x="9107" y="173667"/>
                  </a:lnTo>
                  <a:cubicBezTo>
                    <a:pt x="27500" y="131191"/>
                    <a:pt x="72093" y="93224"/>
                    <a:pt x="134559" y="63704"/>
                  </a:cubicBezTo>
                  <a:lnTo>
                    <a:pt x="181040" y="45581"/>
                  </a:lnTo>
                  <a:lnTo>
                    <a:pt x="181042" y="45582"/>
                  </a:lnTo>
                  <a:lnTo>
                    <a:pt x="202675" y="37146"/>
                  </a:lnTo>
                  <a:cubicBezTo>
                    <a:pt x="276131" y="13694"/>
                    <a:pt x="364683" y="0"/>
                    <a:pt x="460003" y="0"/>
                  </a:cubicBezTo>
                  <a:close/>
                </a:path>
              </a:pathLst>
            </a:custGeom>
            <a:gradFill flip="none" rotWithShape="1">
              <a:gsLst>
                <a:gs pos="0">
                  <a:srgbClr val="BD281E"/>
                </a:gs>
                <a:gs pos="78000">
                  <a:srgbClr val="79111B"/>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46" name="Freeform: Shape 110">
              <a:extLst>
                <a:ext uri="{FF2B5EF4-FFF2-40B4-BE49-F238E27FC236}">
                  <a16:creationId xmlns:a16="http://schemas.microsoft.com/office/drawing/2014/main" id="{CBC3698F-87E4-1EE0-05AE-1B2FEF9DAD16}"/>
                </a:ext>
              </a:extLst>
            </p:cNvPr>
            <p:cNvSpPr/>
            <p:nvPr/>
          </p:nvSpPr>
          <p:spPr>
            <a:xfrm rot="10800000">
              <a:off x="1472567" y="2324366"/>
              <a:ext cx="624038" cy="705175"/>
            </a:xfrm>
            <a:custGeom>
              <a:avLst/>
              <a:gdLst>
                <a:gd name="connsiteX0" fmla="*/ 865023 w 865023"/>
                <a:gd name="connsiteY0" fmla="*/ 0 h 1017665"/>
                <a:gd name="connsiteX1" fmla="*/ 560821 w 865023"/>
                <a:gd name="connsiteY1" fmla="*/ 807308 h 1017665"/>
                <a:gd name="connsiteX2" fmla="*/ 499097 w 865023"/>
                <a:gd name="connsiteY2" fmla="*/ 971115 h 1017665"/>
                <a:gd name="connsiteX3" fmla="*/ 499096 w 865023"/>
                <a:gd name="connsiteY3" fmla="*/ 971115 h 1017665"/>
                <a:gd name="connsiteX4" fmla="*/ 497429 w 865023"/>
                <a:gd name="connsiteY4" fmla="*/ 975539 h 1017665"/>
                <a:gd name="connsiteX5" fmla="*/ 483176 w 865023"/>
                <a:gd name="connsiteY5" fmla="*/ 996677 h 1017665"/>
                <a:gd name="connsiteX6" fmla="*/ 432507 w 865023"/>
                <a:gd name="connsiteY6" fmla="*/ 1017665 h 1017665"/>
                <a:gd name="connsiteX7" fmla="*/ 381838 w 865023"/>
                <a:gd name="connsiteY7" fmla="*/ 996677 h 1017665"/>
                <a:gd name="connsiteX8" fmla="*/ 367595 w 865023"/>
                <a:gd name="connsiteY8" fmla="*/ 975552 h 1017665"/>
                <a:gd name="connsiteX9" fmla="*/ 365914 w 865023"/>
                <a:gd name="connsiteY9" fmla="*/ 971091 h 1017665"/>
                <a:gd name="connsiteX10" fmla="*/ 0 w 865023"/>
                <a:gd name="connsiteY10" fmla="*/ 7 h 1017665"/>
                <a:gd name="connsiteX11" fmla="*/ 3 w 865023"/>
                <a:gd name="connsiteY11" fmla="*/ 11 h 1017665"/>
                <a:gd name="connsiteX12" fmla="*/ 8431 w 865023"/>
                <a:gd name="connsiteY12" fmla="*/ 12842 h 1017665"/>
                <a:gd name="connsiteX13" fmla="*/ 432509 w 865023"/>
                <a:gd name="connsiteY13" fmla="*/ 145683 h 1017665"/>
                <a:gd name="connsiteX14" fmla="*/ 856587 w 865023"/>
                <a:gd name="connsiteY14" fmla="*/ 12842 h 1017665"/>
                <a:gd name="connsiteX15" fmla="*/ 865022 w 865023"/>
                <a:gd name="connsiteY15" fmla="*/ 2 h 10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5023" h="1017665">
                  <a:moveTo>
                    <a:pt x="865023" y="0"/>
                  </a:moveTo>
                  <a:lnTo>
                    <a:pt x="560821" y="807308"/>
                  </a:lnTo>
                  <a:lnTo>
                    <a:pt x="499097" y="971115"/>
                  </a:lnTo>
                  <a:lnTo>
                    <a:pt x="499096" y="971115"/>
                  </a:lnTo>
                  <a:lnTo>
                    <a:pt x="497429" y="975539"/>
                  </a:lnTo>
                  <a:lnTo>
                    <a:pt x="483176" y="996677"/>
                  </a:lnTo>
                  <a:cubicBezTo>
                    <a:pt x="470209" y="1009645"/>
                    <a:pt x="452295" y="1017665"/>
                    <a:pt x="432507" y="1017665"/>
                  </a:cubicBezTo>
                  <a:cubicBezTo>
                    <a:pt x="412720" y="1017665"/>
                    <a:pt x="394805" y="1009645"/>
                    <a:pt x="381838" y="996677"/>
                  </a:cubicBezTo>
                  <a:lnTo>
                    <a:pt x="367595" y="975552"/>
                  </a:lnTo>
                  <a:lnTo>
                    <a:pt x="365914" y="971091"/>
                  </a:lnTo>
                  <a:lnTo>
                    <a:pt x="0" y="7"/>
                  </a:lnTo>
                  <a:lnTo>
                    <a:pt x="3" y="11"/>
                  </a:lnTo>
                  <a:lnTo>
                    <a:pt x="8431" y="12842"/>
                  </a:lnTo>
                  <a:cubicBezTo>
                    <a:pt x="78300" y="90908"/>
                    <a:pt x="241869" y="145683"/>
                    <a:pt x="432509" y="145683"/>
                  </a:cubicBezTo>
                  <a:cubicBezTo>
                    <a:pt x="623149" y="145683"/>
                    <a:pt x="786718" y="90908"/>
                    <a:pt x="856587" y="12842"/>
                  </a:cubicBezTo>
                  <a:lnTo>
                    <a:pt x="865022" y="2"/>
                  </a:lnTo>
                  <a:close/>
                </a:path>
              </a:pathLst>
            </a:custGeom>
            <a:gradFill flip="none" rotWithShape="1">
              <a:gsLst>
                <a:gs pos="46000">
                  <a:srgbClr val="BD281E"/>
                </a:gs>
                <a:gs pos="78000">
                  <a:srgbClr val="79111B"/>
                </a:gs>
              </a:gsLst>
              <a:path path="circle">
                <a:fillToRect r="100000" b="100000"/>
              </a:path>
              <a:tileRect l="-100000" t="-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DFBB9B44-979D-36EA-56CE-F9EAC31DE32C}"/>
                </a:ext>
              </a:extLst>
            </p:cNvPr>
            <p:cNvSpPr/>
            <p:nvPr/>
          </p:nvSpPr>
          <p:spPr>
            <a:xfrm flipH="1">
              <a:off x="1531091" y="2528945"/>
              <a:ext cx="515183" cy="439356"/>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endParaRPr kumimoji="0" lang="en-GB" sz="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sp>
        <p:nvSpPr>
          <p:cNvPr id="141" name="TextBox 140">
            <a:extLst>
              <a:ext uri="{FF2B5EF4-FFF2-40B4-BE49-F238E27FC236}">
                <a16:creationId xmlns:a16="http://schemas.microsoft.com/office/drawing/2014/main" id="{5E31692E-B895-46C3-B111-3BF04EA87930}"/>
              </a:ext>
            </a:extLst>
          </p:cNvPr>
          <p:cNvSpPr txBox="1"/>
          <p:nvPr/>
        </p:nvSpPr>
        <p:spPr>
          <a:xfrm>
            <a:off x="524415" y="1090553"/>
            <a:ext cx="112357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We conducted an analysis to show Tier 1 stakeholders the potential benefits of integrating energy efficiency and flexibility within a Partnership Ecosystem, compared to the current scenario, where these aspects are not considered together.</a:t>
            </a:r>
          </a:p>
        </p:txBody>
      </p:sp>
      <p:pic>
        <p:nvPicPr>
          <p:cNvPr id="11" name="Picture 10">
            <a:extLst>
              <a:ext uri="{FF2B5EF4-FFF2-40B4-BE49-F238E27FC236}">
                <a16:creationId xmlns:a16="http://schemas.microsoft.com/office/drawing/2014/main" id="{3B73CDD6-1147-4AC0-146E-15DB9D9656BE}"/>
              </a:ext>
            </a:extLst>
          </p:cNvPr>
          <p:cNvPicPr>
            <a:picLocks noChangeAspect="1"/>
          </p:cNvPicPr>
          <p:nvPr/>
        </p:nvPicPr>
        <p:blipFill rotWithShape="1">
          <a:blip r:embed="rId3"/>
          <a:srcRect l="1348"/>
          <a:stretch/>
        </p:blipFill>
        <p:spPr>
          <a:xfrm>
            <a:off x="693032" y="3583721"/>
            <a:ext cx="2201989" cy="1233287"/>
          </a:xfrm>
          <a:prstGeom prst="rect">
            <a:avLst/>
          </a:prstGeom>
        </p:spPr>
      </p:pic>
      <p:pic>
        <p:nvPicPr>
          <p:cNvPr id="17" name="Picture 16">
            <a:extLst>
              <a:ext uri="{FF2B5EF4-FFF2-40B4-BE49-F238E27FC236}">
                <a16:creationId xmlns:a16="http://schemas.microsoft.com/office/drawing/2014/main" id="{B611BBBE-1120-622C-5296-A082CB55D129}"/>
              </a:ext>
            </a:extLst>
          </p:cNvPr>
          <p:cNvPicPr>
            <a:picLocks noChangeAspect="1"/>
          </p:cNvPicPr>
          <p:nvPr/>
        </p:nvPicPr>
        <p:blipFill>
          <a:blip r:embed="rId4"/>
          <a:stretch>
            <a:fillRect/>
          </a:stretch>
        </p:blipFill>
        <p:spPr>
          <a:xfrm>
            <a:off x="1405528" y="5036450"/>
            <a:ext cx="2274743" cy="1251534"/>
          </a:xfrm>
          <a:prstGeom prst="rect">
            <a:avLst/>
          </a:prstGeom>
          <a:effectLst>
            <a:glow rad="228600">
              <a:schemeClr val="accent2">
                <a:satMod val="175000"/>
                <a:alpha val="40000"/>
              </a:schemeClr>
            </a:glow>
          </a:effectLst>
        </p:spPr>
      </p:pic>
      <p:pic>
        <p:nvPicPr>
          <p:cNvPr id="5" name="Picture 4" descr="Sia Partners Introduces SiaGPT | Business Wire">
            <a:extLst>
              <a:ext uri="{FF2B5EF4-FFF2-40B4-BE49-F238E27FC236}">
                <a16:creationId xmlns:a16="http://schemas.microsoft.com/office/drawing/2014/main" id="{2C68414A-868F-2B0F-70FA-1C1EEAF0E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4831F7EE-6C4B-9AD9-C9D6-D9BBDF144E28}"/>
              </a:ext>
            </a:extLst>
          </p:cNvPr>
          <p:cNvSpPr/>
          <p:nvPr/>
        </p:nvSpPr>
        <p:spPr>
          <a:xfrm>
            <a:off x="4174435" y="3561082"/>
            <a:ext cx="7167274" cy="2769034"/>
          </a:xfrm>
          <a:prstGeom prst="roundRect">
            <a:avLst>
              <a:gd name="adj" fmla="val 13193"/>
            </a:avLst>
          </a:prstGeom>
          <a:solidFill>
            <a:srgbClr val="F8CBAD"/>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pic>
        <p:nvPicPr>
          <p:cNvPr id="26" name="Picture 25" descr="A grey curved object on a black background&#10;&#10;Description automatically generated">
            <a:extLst>
              <a:ext uri="{FF2B5EF4-FFF2-40B4-BE49-F238E27FC236}">
                <a16:creationId xmlns:a16="http://schemas.microsoft.com/office/drawing/2014/main" id="{1597EC89-845C-9416-1F49-4A9FF42FCB30}"/>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18834382">
            <a:off x="888752" y="4931189"/>
            <a:ext cx="279602" cy="687578"/>
          </a:xfrm>
          <a:prstGeom prst="rect">
            <a:avLst/>
          </a:prstGeom>
        </p:spPr>
      </p:pic>
      <p:grpSp>
        <p:nvGrpSpPr>
          <p:cNvPr id="27" name="Group 26">
            <a:extLst>
              <a:ext uri="{FF2B5EF4-FFF2-40B4-BE49-F238E27FC236}">
                <a16:creationId xmlns:a16="http://schemas.microsoft.com/office/drawing/2014/main" id="{AE0DFF06-921F-3DED-3EBE-73F4EDE57078}"/>
              </a:ext>
            </a:extLst>
          </p:cNvPr>
          <p:cNvGrpSpPr/>
          <p:nvPr/>
        </p:nvGrpSpPr>
        <p:grpSpPr>
          <a:xfrm>
            <a:off x="827844" y="2310329"/>
            <a:ext cx="484924" cy="364145"/>
            <a:chOff x="1028384" y="3724204"/>
            <a:chExt cx="1444037" cy="980300"/>
          </a:xfrm>
        </p:grpSpPr>
        <p:sp>
          <p:nvSpPr>
            <p:cNvPr id="28" name="Freeform: Shape 93">
              <a:extLst>
                <a:ext uri="{FF2B5EF4-FFF2-40B4-BE49-F238E27FC236}">
                  <a16:creationId xmlns:a16="http://schemas.microsoft.com/office/drawing/2014/main" id="{4334B985-048A-37F1-B3F6-398ED438ACD9}"/>
                </a:ext>
              </a:extLst>
            </p:cNvPr>
            <p:cNvSpPr/>
            <p:nvPr/>
          </p:nvSpPr>
          <p:spPr>
            <a:xfrm rot="10800000">
              <a:off x="1028384" y="4325278"/>
              <a:ext cx="1444037" cy="379226"/>
            </a:xfrm>
            <a:custGeom>
              <a:avLst/>
              <a:gdLst>
                <a:gd name="connsiteX0" fmla="*/ 935320 w 1870640"/>
                <a:gd name="connsiteY0" fmla="*/ 0 h 435006"/>
                <a:gd name="connsiteX1" fmla="*/ 1461691 w 1870640"/>
                <a:gd name="connsiteY1" fmla="*/ 37146 h 435006"/>
                <a:gd name="connsiteX2" fmla="*/ 1486139 w 1870640"/>
                <a:gd name="connsiteY2" fmla="*/ 41806 h 435006"/>
                <a:gd name="connsiteX3" fmla="*/ 1601022 w 1870640"/>
                <a:gd name="connsiteY3" fmla="*/ 63705 h 435006"/>
                <a:gd name="connsiteX4" fmla="*/ 1857638 w 1870640"/>
                <a:gd name="connsiteY4" fmla="*/ 173668 h 435006"/>
                <a:gd name="connsiteX5" fmla="*/ 1870640 w 1870640"/>
                <a:gd name="connsiteY5" fmla="*/ 193351 h 435006"/>
                <a:gd name="connsiteX6" fmla="*/ 1838564 w 1870640"/>
                <a:gd name="connsiteY6" fmla="*/ 278476 h 435006"/>
                <a:gd name="connsiteX7" fmla="*/ 1834440 w 1870640"/>
                <a:gd name="connsiteY7" fmla="*/ 282182 h 435006"/>
                <a:gd name="connsiteX8" fmla="*/ 935320 w 1870640"/>
                <a:gd name="connsiteY8" fmla="*/ 435006 h 435006"/>
                <a:gd name="connsiteX9" fmla="*/ 36200 w 1870640"/>
                <a:gd name="connsiteY9" fmla="*/ 282182 h 435006"/>
                <a:gd name="connsiteX10" fmla="*/ 32076 w 1870640"/>
                <a:gd name="connsiteY10" fmla="*/ 278476 h 435006"/>
                <a:gd name="connsiteX11" fmla="*/ 0 w 1870640"/>
                <a:gd name="connsiteY11" fmla="*/ 193351 h 435006"/>
                <a:gd name="connsiteX12" fmla="*/ 13002 w 1870640"/>
                <a:gd name="connsiteY12" fmla="*/ 173668 h 435006"/>
                <a:gd name="connsiteX13" fmla="*/ 269618 w 1870640"/>
                <a:gd name="connsiteY13" fmla="*/ 63705 h 435006"/>
                <a:gd name="connsiteX14" fmla="*/ 384501 w 1870640"/>
                <a:gd name="connsiteY14" fmla="*/ 41806 h 435006"/>
                <a:gd name="connsiteX15" fmla="*/ 408949 w 1870640"/>
                <a:gd name="connsiteY15" fmla="*/ 37146 h 435006"/>
                <a:gd name="connsiteX16" fmla="*/ 935320 w 1870640"/>
                <a:gd name="connsiteY16"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0640" h="435006">
                  <a:moveTo>
                    <a:pt x="935320" y="0"/>
                  </a:moveTo>
                  <a:cubicBezTo>
                    <a:pt x="1130300" y="0"/>
                    <a:pt x="1311436" y="13694"/>
                    <a:pt x="1461691" y="37146"/>
                  </a:cubicBezTo>
                  <a:lnTo>
                    <a:pt x="1486139" y="41806"/>
                  </a:lnTo>
                  <a:lnTo>
                    <a:pt x="1601022" y="63705"/>
                  </a:lnTo>
                  <a:cubicBezTo>
                    <a:pt x="1728798" y="93225"/>
                    <a:pt x="1820016" y="131191"/>
                    <a:pt x="1857638" y="173668"/>
                  </a:cubicBezTo>
                  <a:lnTo>
                    <a:pt x="1870640" y="193351"/>
                  </a:lnTo>
                  <a:lnTo>
                    <a:pt x="1838564" y="278476"/>
                  </a:lnTo>
                  <a:lnTo>
                    <a:pt x="1834440" y="282182"/>
                  </a:lnTo>
                  <a:cubicBezTo>
                    <a:pt x="1715242" y="370721"/>
                    <a:pt x="1357776" y="435006"/>
                    <a:pt x="935320" y="435006"/>
                  </a:cubicBezTo>
                  <a:cubicBezTo>
                    <a:pt x="512864" y="435006"/>
                    <a:pt x="155398" y="370721"/>
                    <a:pt x="36200" y="282182"/>
                  </a:cubicBezTo>
                  <a:lnTo>
                    <a:pt x="32076" y="278476"/>
                  </a:lnTo>
                  <a:lnTo>
                    <a:pt x="0" y="193351"/>
                  </a:lnTo>
                  <a:lnTo>
                    <a:pt x="13002" y="173668"/>
                  </a:lnTo>
                  <a:cubicBezTo>
                    <a:pt x="50624" y="131191"/>
                    <a:pt x="141842" y="93225"/>
                    <a:pt x="269618" y="63705"/>
                  </a:cubicBezTo>
                  <a:lnTo>
                    <a:pt x="384501" y="41806"/>
                  </a:lnTo>
                  <a:lnTo>
                    <a:pt x="408949" y="37146"/>
                  </a:lnTo>
                  <a:cubicBezTo>
                    <a:pt x="559205" y="13694"/>
                    <a:pt x="740340" y="0"/>
                    <a:pt x="935320" y="0"/>
                  </a:cubicBezTo>
                  <a:close/>
                </a:path>
              </a:pathLst>
            </a:custGeom>
            <a:gradFill flip="none" rotWithShape="1">
              <a:gsLst>
                <a:gs pos="0">
                  <a:schemeClr val="accent2"/>
                </a:gs>
                <a:gs pos="78000">
                  <a:schemeClr val="accent2">
                    <a:lumMod val="50000"/>
                  </a:schemeClr>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29" name="Freeform: Shape 105">
              <a:extLst>
                <a:ext uri="{FF2B5EF4-FFF2-40B4-BE49-F238E27FC236}">
                  <a16:creationId xmlns:a16="http://schemas.microsoft.com/office/drawing/2014/main" id="{D72671D6-EFCF-4170-9F1A-3FDF4BADA86E}"/>
                </a:ext>
              </a:extLst>
            </p:cNvPr>
            <p:cNvSpPr/>
            <p:nvPr/>
          </p:nvSpPr>
          <p:spPr>
            <a:xfrm rot="10800000">
              <a:off x="1044737" y="3724204"/>
              <a:ext cx="1427684" cy="776451"/>
            </a:xfrm>
            <a:custGeom>
              <a:avLst/>
              <a:gdLst>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903243 w 1806488"/>
                <a:gd name="connsiteY15" fmla="*/ 959933 h 1031410"/>
                <a:gd name="connsiteX16" fmla="*/ 645915 w 1806488"/>
                <a:gd name="connsiteY16" fmla="*/ 997079 h 1031410"/>
                <a:gd name="connsiteX17" fmla="*/ 624280 w 1806488"/>
                <a:gd name="connsiteY17" fmla="*/ 1005515 h 1031410"/>
                <a:gd name="connsiteX18" fmla="*/ 566961 w 1806488"/>
                <a:gd name="connsiteY18" fmla="*/ 994264 h 1031410"/>
                <a:gd name="connsiteX19" fmla="*/ 349050 w 1806488"/>
                <a:gd name="connsiteY19" fmla="*/ 898569 h 1031410"/>
                <a:gd name="connsiteX20" fmla="*/ 330404 w 1806488"/>
                <a:gd name="connsiteY20" fmla="*/ 876848 h 1031410"/>
                <a:gd name="connsiteX21" fmla="*/ 303869 w 1806488"/>
                <a:gd name="connsiteY21" fmla="*/ 806427 h 1031410"/>
                <a:gd name="connsiteX22" fmla="*/ 314003 w 1806488"/>
                <a:gd name="connsiteY22" fmla="*/ 770072 h 1031410"/>
                <a:gd name="connsiteX23" fmla="*/ 903243 w 1806488"/>
                <a:gd name="connsiteY23" fmla="*/ 596404 h 1031410"/>
                <a:gd name="connsiteX24" fmla="*/ 0 w 1806488"/>
                <a:gd name="connsiteY24" fmla="*/ 0 h 1031410"/>
                <a:gd name="connsiteX25" fmla="*/ 4124 w 1806488"/>
                <a:gd name="connsiteY25" fmla="*/ 3706 h 1031410"/>
                <a:gd name="connsiteX26" fmla="*/ 903244 w 1806488"/>
                <a:gd name="connsiteY26" fmla="*/ 156530 h 1031410"/>
                <a:gd name="connsiteX27" fmla="*/ 1802364 w 1806488"/>
                <a:gd name="connsiteY27" fmla="*/ 3706 h 1031410"/>
                <a:gd name="connsiteX28" fmla="*/ 1806488 w 1806488"/>
                <a:gd name="connsiteY28" fmla="*/ 0 h 1031410"/>
                <a:gd name="connsiteX29" fmla="*/ 1502618 w 1806488"/>
                <a:gd name="connsiteY29" fmla="*/ 806429 h 1031410"/>
                <a:gd name="connsiteX30" fmla="*/ 1492483 w 1806488"/>
                <a:gd name="connsiteY30" fmla="*/ 770071 h 1031410"/>
                <a:gd name="connsiteX31" fmla="*/ 903243 w 1806488"/>
                <a:gd name="connsiteY31" fmla="*/ 596403 h 1031410"/>
                <a:gd name="connsiteX32" fmla="*/ 314003 w 1806488"/>
                <a:gd name="connsiteY32" fmla="*/ 770071 h 1031410"/>
                <a:gd name="connsiteX33" fmla="*/ 303869 w 1806488"/>
                <a:gd name="connsiteY33" fmla="*/ 806426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645915 w 1806488"/>
                <a:gd name="connsiteY15" fmla="*/ 997079 h 1031410"/>
                <a:gd name="connsiteX16" fmla="*/ 624280 w 1806488"/>
                <a:gd name="connsiteY16" fmla="*/ 1005515 h 1031410"/>
                <a:gd name="connsiteX17" fmla="*/ 566961 w 1806488"/>
                <a:gd name="connsiteY17" fmla="*/ 994264 h 1031410"/>
                <a:gd name="connsiteX18" fmla="*/ 349050 w 1806488"/>
                <a:gd name="connsiteY18" fmla="*/ 898569 h 1031410"/>
                <a:gd name="connsiteX19" fmla="*/ 330404 w 1806488"/>
                <a:gd name="connsiteY19" fmla="*/ 876848 h 1031410"/>
                <a:gd name="connsiteX20" fmla="*/ 303869 w 1806488"/>
                <a:gd name="connsiteY20" fmla="*/ 806427 h 1031410"/>
                <a:gd name="connsiteX21" fmla="*/ 314003 w 1806488"/>
                <a:gd name="connsiteY21" fmla="*/ 770072 h 1031410"/>
                <a:gd name="connsiteX22" fmla="*/ 903243 w 1806488"/>
                <a:gd name="connsiteY22" fmla="*/ 596404 h 1031410"/>
                <a:gd name="connsiteX23" fmla="*/ 0 w 1806488"/>
                <a:gd name="connsiteY23" fmla="*/ 0 h 1031410"/>
                <a:gd name="connsiteX24" fmla="*/ 4124 w 1806488"/>
                <a:gd name="connsiteY24" fmla="*/ 3706 h 1031410"/>
                <a:gd name="connsiteX25" fmla="*/ 903244 w 1806488"/>
                <a:gd name="connsiteY25" fmla="*/ 156530 h 1031410"/>
                <a:gd name="connsiteX26" fmla="*/ 1802364 w 1806488"/>
                <a:gd name="connsiteY26" fmla="*/ 3706 h 1031410"/>
                <a:gd name="connsiteX27" fmla="*/ 1806488 w 1806488"/>
                <a:gd name="connsiteY27" fmla="*/ 0 h 1031410"/>
                <a:gd name="connsiteX28" fmla="*/ 1502618 w 1806488"/>
                <a:gd name="connsiteY28" fmla="*/ 806429 h 1031410"/>
                <a:gd name="connsiteX29" fmla="*/ 1492483 w 1806488"/>
                <a:gd name="connsiteY29" fmla="*/ 770071 h 1031410"/>
                <a:gd name="connsiteX30" fmla="*/ 903243 w 1806488"/>
                <a:gd name="connsiteY30" fmla="*/ 596403 h 1031410"/>
                <a:gd name="connsiteX31" fmla="*/ 314003 w 1806488"/>
                <a:gd name="connsiteY31" fmla="*/ 770071 h 1031410"/>
                <a:gd name="connsiteX32" fmla="*/ 303869 w 1806488"/>
                <a:gd name="connsiteY32" fmla="*/ 806426 h 1031410"/>
                <a:gd name="connsiteX33" fmla="*/ 0 w 1806488"/>
                <a:gd name="connsiteY33"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645915 w 1806488"/>
                <a:gd name="connsiteY14" fmla="*/ 997079 h 1031410"/>
                <a:gd name="connsiteX15" fmla="*/ 624280 w 1806488"/>
                <a:gd name="connsiteY15" fmla="*/ 1005515 h 1031410"/>
                <a:gd name="connsiteX16" fmla="*/ 566961 w 1806488"/>
                <a:gd name="connsiteY16" fmla="*/ 994264 h 1031410"/>
                <a:gd name="connsiteX17" fmla="*/ 349050 w 1806488"/>
                <a:gd name="connsiteY17" fmla="*/ 898569 h 1031410"/>
                <a:gd name="connsiteX18" fmla="*/ 330404 w 1806488"/>
                <a:gd name="connsiteY18" fmla="*/ 876848 h 1031410"/>
                <a:gd name="connsiteX19" fmla="*/ 303869 w 1806488"/>
                <a:gd name="connsiteY19" fmla="*/ 806427 h 1031410"/>
                <a:gd name="connsiteX20" fmla="*/ 314003 w 1806488"/>
                <a:gd name="connsiteY20" fmla="*/ 770072 h 1031410"/>
                <a:gd name="connsiteX21" fmla="*/ 903243 w 1806488"/>
                <a:gd name="connsiteY21" fmla="*/ 596404 h 1031410"/>
                <a:gd name="connsiteX22" fmla="*/ 0 w 1806488"/>
                <a:gd name="connsiteY22" fmla="*/ 0 h 1031410"/>
                <a:gd name="connsiteX23" fmla="*/ 4124 w 1806488"/>
                <a:gd name="connsiteY23" fmla="*/ 3706 h 1031410"/>
                <a:gd name="connsiteX24" fmla="*/ 903244 w 1806488"/>
                <a:gd name="connsiteY24" fmla="*/ 156530 h 1031410"/>
                <a:gd name="connsiteX25" fmla="*/ 1802364 w 1806488"/>
                <a:gd name="connsiteY25" fmla="*/ 3706 h 1031410"/>
                <a:gd name="connsiteX26" fmla="*/ 1806488 w 1806488"/>
                <a:gd name="connsiteY26" fmla="*/ 0 h 1031410"/>
                <a:gd name="connsiteX27" fmla="*/ 1502618 w 1806488"/>
                <a:gd name="connsiteY27" fmla="*/ 806429 h 1031410"/>
                <a:gd name="connsiteX28" fmla="*/ 1492483 w 1806488"/>
                <a:gd name="connsiteY28" fmla="*/ 770071 h 1031410"/>
                <a:gd name="connsiteX29" fmla="*/ 903243 w 1806488"/>
                <a:gd name="connsiteY29" fmla="*/ 596403 h 1031410"/>
                <a:gd name="connsiteX30" fmla="*/ 314003 w 1806488"/>
                <a:gd name="connsiteY30" fmla="*/ 770071 h 1031410"/>
                <a:gd name="connsiteX31" fmla="*/ 303869 w 1806488"/>
                <a:gd name="connsiteY31" fmla="*/ 806426 h 1031410"/>
                <a:gd name="connsiteX32" fmla="*/ 0 w 1806488"/>
                <a:gd name="connsiteY32"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645915 w 1806488"/>
                <a:gd name="connsiteY13" fmla="*/ 997079 h 1031410"/>
                <a:gd name="connsiteX14" fmla="*/ 624280 w 1806488"/>
                <a:gd name="connsiteY14" fmla="*/ 1005515 h 1031410"/>
                <a:gd name="connsiteX15" fmla="*/ 566961 w 1806488"/>
                <a:gd name="connsiteY15" fmla="*/ 994264 h 1031410"/>
                <a:gd name="connsiteX16" fmla="*/ 349050 w 1806488"/>
                <a:gd name="connsiteY16" fmla="*/ 898569 h 1031410"/>
                <a:gd name="connsiteX17" fmla="*/ 330404 w 1806488"/>
                <a:gd name="connsiteY17" fmla="*/ 876848 h 1031410"/>
                <a:gd name="connsiteX18" fmla="*/ 303869 w 1806488"/>
                <a:gd name="connsiteY18" fmla="*/ 806427 h 1031410"/>
                <a:gd name="connsiteX19" fmla="*/ 314003 w 1806488"/>
                <a:gd name="connsiteY19" fmla="*/ 770072 h 1031410"/>
                <a:gd name="connsiteX20" fmla="*/ 903243 w 1806488"/>
                <a:gd name="connsiteY20" fmla="*/ 596404 h 1031410"/>
                <a:gd name="connsiteX21" fmla="*/ 0 w 1806488"/>
                <a:gd name="connsiteY21" fmla="*/ 0 h 1031410"/>
                <a:gd name="connsiteX22" fmla="*/ 4124 w 1806488"/>
                <a:gd name="connsiteY22" fmla="*/ 3706 h 1031410"/>
                <a:gd name="connsiteX23" fmla="*/ 903244 w 1806488"/>
                <a:gd name="connsiteY23" fmla="*/ 156530 h 1031410"/>
                <a:gd name="connsiteX24" fmla="*/ 1802364 w 1806488"/>
                <a:gd name="connsiteY24" fmla="*/ 3706 h 1031410"/>
                <a:gd name="connsiteX25" fmla="*/ 1806488 w 1806488"/>
                <a:gd name="connsiteY25" fmla="*/ 0 h 1031410"/>
                <a:gd name="connsiteX26" fmla="*/ 1502618 w 1806488"/>
                <a:gd name="connsiteY26" fmla="*/ 806429 h 1031410"/>
                <a:gd name="connsiteX27" fmla="*/ 1492483 w 1806488"/>
                <a:gd name="connsiteY27" fmla="*/ 770071 h 1031410"/>
                <a:gd name="connsiteX28" fmla="*/ 903243 w 1806488"/>
                <a:gd name="connsiteY28" fmla="*/ 596403 h 1031410"/>
                <a:gd name="connsiteX29" fmla="*/ 314003 w 1806488"/>
                <a:gd name="connsiteY29" fmla="*/ 770071 h 1031410"/>
                <a:gd name="connsiteX30" fmla="*/ 303869 w 1806488"/>
                <a:gd name="connsiteY30" fmla="*/ 806426 h 1031410"/>
                <a:gd name="connsiteX31" fmla="*/ 0 w 1806488"/>
                <a:gd name="connsiteY31" fmla="*/ 0 h 103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6488" h="1031410">
                  <a:moveTo>
                    <a:pt x="903243" y="596404"/>
                  </a:moveTo>
                  <a:cubicBezTo>
                    <a:pt x="1193898" y="596404"/>
                    <a:pt x="1436399" y="670960"/>
                    <a:pt x="1492483" y="770072"/>
                  </a:cubicBezTo>
                  <a:lnTo>
                    <a:pt x="1502618" y="806430"/>
                  </a:lnTo>
                  <a:lnTo>
                    <a:pt x="1476085" y="876844"/>
                  </a:lnTo>
                  <a:lnTo>
                    <a:pt x="1457436" y="898569"/>
                  </a:lnTo>
                  <a:cubicBezTo>
                    <a:pt x="1411783" y="937601"/>
                    <a:pt x="1335518" y="970812"/>
                    <a:pt x="1239525" y="994264"/>
                  </a:cubicBezTo>
                  <a:lnTo>
                    <a:pt x="1182208" y="1005515"/>
                  </a:lnTo>
                  <a:lnTo>
                    <a:pt x="1182208" y="1005515"/>
                  </a:lnTo>
                  <a:lnTo>
                    <a:pt x="1137359" y="1014318"/>
                  </a:lnTo>
                  <a:cubicBezTo>
                    <a:pt x="1065402" y="1025324"/>
                    <a:pt x="986288" y="1031410"/>
                    <a:pt x="903244" y="1031410"/>
                  </a:cubicBezTo>
                  <a:cubicBezTo>
                    <a:pt x="820200" y="1031410"/>
                    <a:pt x="741087" y="1025324"/>
                    <a:pt x="669129" y="1014318"/>
                  </a:cubicBezTo>
                  <a:lnTo>
                    <a:pt x="624281" y="1005515"/>
                  </a:lnTo>
                  <a:lnTo>
                    <a:pt x="645916" y="997079"/>
                  </a:lnTo>
                  <a:cubicBezTo>
                    <a:pt x="649522" y="995673"/>
                    <a:pt x="649521" y="995673"/>
                    <a:pt x="645915" y="997079"/>
                  </a:cubicBezTo>
                  <a:lnTo>
                    <a:pt x="624280" y="1005515"/>
                  </a:lnTo>
                  <a:lnTo>
                    <a:pt x="566961" y="994264"/>
                  </a:lnTo>
                  <a:cubicBezTo>
                    <a:pt x="470968" y="970812"/>
                    <a:pt x="394703" y="937601"/>
                    <a:pt x="349050" y="898569"/>
                  </a:cubicBezTo>
                  <a:lnTo>
                    <a:pt x="330404" y="876848"/>
                  </a:lnTo>
                  <a:lnTo>
                    <a:pt x="303869" y="806427"/>
                  </a:lnTo>
                  <a:lnTo>
                    <a:pt x="314003" y="770072"/>
                  </a:lnTo>
                  <a:cubicBezTo>
                    <a:pt x="370087" y="670960"/>
                    <a:pt x="612588" y="596404"/>
                    <a:pt x="903243" y="596404"/>
                  </a:cubicBezTo>
                  <a:close/>
                  <a:moveTo>
                    <a:pt x="0" y="0"/>
                  </a:moveTo>
                  <a:lnTo>
                    <a:pt x="4124" y="3706"/>
                  </a:lnTo>
                  <a:cubicBezTo>
                    <a:pt x="123322" y="92245"/>
                    <a:pt x="480788" y="156530"/>
                    <a:pt x="903244" y="156530"/>
                  </a:cubicBezTo>
                  <a:cubicBezTo>
                    <a:pt x="1325700" y="156530"/>
                    <a:pt x="1683166" y="92245"/>
                    <a:pt x="1802364" y="3706"/>
                  </a:cubicBezTo>
                  <a:lnTo>
                    <a:pt x="1806488" y="0"/>
                  </a:lnTo>
                  <a:lnTo>
                    <a:pt x="1502618" y="806429"/>
                  </a:lnTo>
                  <a:lnTo>
                    <a:pt x="1492483" y="770071"/>
                  </a:lnTo>
                  <a:cubicBezTo>
                    <a:pt x="1436399" y="670959"/>
                    <a:pt x="1193898" y="596403"/>
                    <a:pt x="903243" y="596403"/>
                  </a:cubicBezTo>
                  <a:cubicBezTo>
                    <a:pt x="612588" y="596403"/>
                    <a:pt x="370087" y="670959"/>
                    <a:pt x="314003" y="770071"/>
                  </a:cubicBezTo>
                  <a:lnTo>
                    <a:pt x="303869" y="806426"/>
                  </a:lnTo>
                  <a:lnTo>
                    <a:pt x="0" y="0"/>
                  </a:lnTo>
                  <a:close/>
                </a:path>
              </a:pathLst>
            </a:custGeom>
            <a:gradFill flip="none" rotWithShape="1">
              <a:gsLst>
                <a:gs pos="41000">
                  <a:schemeClr val="accent2"/>
                </a:gs>
                <a:gs pos="78000">
                  <a:schemeClr val="accent2">
                    <a:lumMod val="75000"/>
                  </a:schemeClr>
                </a:gs>
              </a:gsLst>
              <a:path path="circle">
                <a:fillToRect r="100000" b="100000"/>
              </a:path>
              <a:tileRect l="-100000" t="-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0EC5634-6FA8-7F62-8A8D-FE1F769CD3D1}"/>
                </a:ext>
              </a:extLst>
            </p:cNvPr>
            <p:cNvSpPr/>
            <p:nvPr/>
          </p:nvSpPr>
          <p:spPr>
            <a:xfrm flipH="1">
              <a:off x="1486233" y="3816523"/>
              <a:ext cx="515185" cy="45570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2</a:t>
              </a:r>
            </a:p>
          </p:txBody>
        </p:sp>
      </p:grpSp>
      <p:grpSp>
        <p:nvGrpSpPr>
          <p:cNvPr id="31" name="Group 30">
            <a:extLst>
              <a:ext uri="{FF2B5EF4-FFF2-40B4-BE49-F238E27FC236}">
                <a16:creationId xmlns:a16="http://schemas.microsoft.com/office/drawing/2014/main" id="{E8E55D03-E24F-CCAF-7CEA-9BC1CFC21DC1}"/>
              </a:ext>
            </a:extLst>
          </p:cNvPr>
          <p:cNvGrpSpPr/>
          <p:nvPr/>
        </p:nvGrpSpPr>
        <p:grpSpPr>
          <a:xfrm>
            <a:off x="693032" y="2714881"/>
            <a:ext cx="765502" cy="384899"/>
            <a:chOff x="641358" y="5196917"/>
            <a:chExt cx="2208888" cy="1036170"/>
          </a:xfrm>
        </p:grpSpPr>
        <p:sp>
          <p:nvSpPr>
            <p:cNvPr id="32" name="Freeform: Shape 106">
              <a:extLst>
                <a:ext uri="{FF2B5EF4-FFF2-40B4-BE49-F238E27FC236}">
                  <a16:creationId xmlns:a16="http://schemas.microsoft.com/office/drawing/2014/main" id="{82E80884-4441-0EC8-628A-64224516E6D6}"/>
                </a:ext>
              </a:extLst>
            </p:cNvPr>
            <p:cNvSpPr/>
            <p:nvPr/>
          </p:nvSpPr>
          <p:spPr>
            <a:xfrm rot="10800000">
              <a:off x="644827" y="5809744"/>
              <a:ext cx="2205419" cy="423343"/>
            </a:xfrm>
            <a:custGeom>
              <a:avLst/>
              <a:gdLst>
                <a:gd name="connsiteX0" fmla="*/ 674350 w 2794895"/>
                <a:gd name="connsiteY0" fmla="*/ 31386 h 435007"/>
                <a:gd name="connsiteX1" fmla="*/ 765075 w 2794895"/>
                <a:gd name="connsiteY1" fmla="*/ 42444 h 435007"/>
                <a:gd name="connsiteX2" fmla="*/ 1397448 w 2794895"/>
                <a:gd name="connsiteY2" fmla="*/ 74747 h 435007"/>
                <a:gd name="connsiteX3" fmla="*/ 2029821 w 2794895"/>
                <a:gd name="connsiteY3" fmla="*/ 42444 h 435007"/>
                <a:gd name="connsiteX4" fmla="*/ 2120546 w 2794895"/>
                <a:gd name="connsiteY4" fmla="*/ 31386 h 435007"/>
                <a:gd name="connsiteX5" fmla="*/ 2181694 w 2794895"/>
                <a:gd name="connsiteY5" fmla="*/ 37147 h 435007"/>
                <a:gd name="connsiteX6" fmla="*/ 2792877 w 2794895"/>
                <a:gd name="connsiteY6" fmla="*/ 195266 h 435007"/>
                <a:gd name="connsiteX7" fmla="*/ 2794895 w 2794895"/>
                <a:gd name="connsiteY7" fmla="*/ 201461 h 435007"/>
                <a:gd name="connsiteX8" fmla="*/ 2772772 w 2794895"/>
                <a:gd name="connsiteY8" fmla="*/ 260171 h 435007"/>
                <a:gd name="connsiteX9" fmla="*/ 2771622 w 2794895"/>
                <a:gd name="connsiteY9" fmla="*/ 261339 h 435007"/>
                <a:gd name="connsiteX10" fmla="*/ 1397447 w 2794895"/>
                <a:gd name="connsiteY10" fmla="*/ 435007 h 435007"/>
                <a:gd name="connsiteX11" fmla="*/ 23272 w 2794895"/>
                <a:gd name="connsiteY11" fmla="*/ 261339 h 435007"/>
                <a:gd name="connsiteX12" fmla="*/ 22125 w 2794895"/>
                <a:gd name="connsiteY12" fmla="*/ 260174 h 435007"/>
                <a:gd name="connsiteX13" fmla="*/ 0 w 2794895"/>
                <a:gd name="connsiteY13" fmla="*/ 201458 h 435007"/>
                <a:gd name="connsiteX14" fmla="*/ 2017 w 2794895"/>
                <a:gd name="connsiteY14" fmla="*/ 195266 h 435007"/>
                <a:gd name="connsiteX15" fmla="*/ 613200 w 2794895"/>
                <a:gd name="connsiteY15" fmla="*/ 37147 h 435007"/>
                <a:gd name="connsiteX16" fmla="*/ 1397447 w 2794895"/>
                <a:gd name="connsiteY16" fmla="*/ 0 h 435007"/>
                <a:gd name="connsiteX17" fmla="*/ 2066044 w 2794895"/>
                <a:gd name="connsiteY17" fmla="*/ 26251 h 435007"/>
                <a:gd name="connsiteX18" fmla="*/ 2120546 w 2794895"/>
                <a:gd name="connsiteY18" fmla="*/ 31385 h 435007"/>
                <a:gd name="connsiteX19" fmla="*/ 2029821 w 2794895"/>
                <a:gd name="connsiteY19" fmla="*/ 42443 h 435007"/>
                <a:gd name="connsiteX20" fmla="*/ 1397448 w 2794895"/>
                <a:gd name="connsiteY20" fmla="*/ 74746 h 435007"/>
                <a:gd name="connsiteX21" fmla="*/ 765075 w 2794895"/>
                <a:gd name="connsiteY21" fmla="*/ 42443 h 435007"/>
                <a:gd name="connsiteX22" fmla="*/ 674350 w 2794895"/>
                <a:gd name="connsiteY22" fmla="*/ 31385 h 435007"/>
                <a:gd name="connsiteX23" fmla="*/ 728850 w 2794895"/>
                <a:gd name="connsiteY23" fmla="*/ 26251 h 435007"/>
                <a:gd name="connsiteX24" fmla="*/ 1397447 w 2794895"/>
                <a:gd name="connsiteY24" fmla="*/ 0 h 43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4895" h="435007">
                  <a:moveTo>
                    <a:pt x="674350" y="31386"/>
                  </a:moveTo>
                  <a:lnTo>
                    <a:pt x="765075" y="42444"/>
                  </a:lnTo>
                  <a:cubicBezTo>
                    <a:pt x="959441" y="63245"/>
                    <a:pt x="1173136" y="74747"/>
                    <a:pt x="1397448" y="74747"/>
                  </a:cubicBezTo>
                  <a:cubicBezTo>
                    <a:pt x="1621761" y="74747"/>
                    <a:pt x="1835455" y="63245"/>
                    <a:pt x="2029821" y="42444"/>
                  </a:cubicBezTo>
                  <a:lnTo>
                    <a:pt x="2120546" y="31386"/>
                  </a:lnTo>
                  <a:lnTo>
                    <a:pt x="2181694" y="37147"/>
                  </a:lnTo>
                  <a:cubicBezTo>
                    <a:pt x="2517496" y="72325"/>
                    <a:pt x="2749779" y="129459"/>
                    <a:pt x="2792877" y="195266"/>
                  </a:cubicBezTo>
                  <a:lnTo>
                    <a:pt x="2794895" y="201461"/>
                  </a:lnTo>
                  <a:lnTo>
                    <a:pt x="2772772" y="260171"/>
                  </a:lnTo>
                  <a:lnTo>
                    <a:pt x="2771622" y="261339"/>
                  </a:lnTo>
                  <a:cubicBezTo>
                    <a:pt x="2640828" y="360451"/>
                    <a:pt x="2075287" y="435007"/>
                    <a:pt x="1397447" y="435007"/>
                  </a:cubicBezTo>
                  <a:cubicBezTo>
                    <a:pt x="719607" y="435007"/>
                    <a:pt x="154066" y="360451"/>
                    <a:pt x="23272" y="261339"/>
                  </a:cubicBezTo>
                  <a:lnTo>
                    <a:pt x="22125" y="260174"/>
                  </a:lnTo>
                  <a:lnTo>
                    <a:pt x="0" y="201458"/>
                  </a:lnTo>
                  <a:lnTo>
                    <a:pt x="2017" y="195266"/>
                  </a:lnTo>
                  <a:cubicBezTo>
                    <a:pt x="45115" y="129459"/>
                    <a:pt x="277398" y="72325"/>
                    <a:pt x="613200" y="37147"/>
                  </a:cubicBezTo>
                  <a:close/>
                  <a:moveTo>
                    <a:pt x="1397447" y="0"/>
                  </a:moveTo>
                  <a:cubicBezTo>
                    <a:pt x="1639533" y="0"/>
                    <a:pt x="1867295" y="9510"/>
                    <a:pt x="2066044" y="26251"/>
                  </a:cubicBezTo>
                  <a:lnTo>
                    <a:pt x="2120546" y="31385"/>
                  </a:lnTo>
                  <a:lnTo>
                    <a:pt x="2029821" y="42443"/>
                  </a:lnTo>
                  <a:cubicBezTo>
                    <a:pt x="1835455" y="63244"/>
                    <a:pt x="1621761" y="74746"/>
                    <a:pt x="1397448" y="74746"/>
                  </a:cubicBezTo>
                  <a:cubicBezTo>
                    <a:pt x="1173136" y="74746"/>
                    <a:pt x="959441" y="63244"/>
                    <a:pt x="765075" y="42443"/>
                  </a:cubicBezTo>
                  <a:lnTo>
                    <a:pt x="674350" y="31385"/>
                  </a:lnTo>
                  <a:lnTo>
                    <a:pt x="728850" y="26251"/>
                  </a:lnTo>
                  <a:cubicBezTo>
                    <a:pt x="927599" y="9510"/>
                    <a:pt x="1155362" y="0"/>
                    <a:pt x="1397447" y="0"/>
                  </a:cubicBezTo>
                  <a:close/>
                </a:path>
              </a:pathLst>
            </a:custGeom>
            <a:gradFill flip="none" rotWithShape="1">
              <a:gsLst>
                <a:gs pos="0">
                  <a:schemeClr val="accent4"/>
                </a:gs>
                <a:gs pos="78000">
                  <a:schemeClr val="accent4">
                    <a:lumMod val="75000"/>
                  </a:schemeClr>
                </a:gs>
              </a:gsLst>
              <a:path path="circle">
                <a:fillToRect l="100000" t="100000"/>
              </a:path>
              <a:tileRect r="-100000" b="-100000"/>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3" name="Freeform: Shape 109">
              <a:extLst>
                <a:ext uri="{FF2B5EF4-FFF2-40B4-BE49-F238E27FC236}">
                  <a16:creationId xmlns:a16="http://schemas.microsoft.com/office/drawing/2014/main" id="{73E080AD-1CDB-1D61-DF72-84814230D979}"/>
                </a:ext>
              </a:extLst>
            </p:cNvPr>
            <p:cNvSpPr/>
            <p:nvPr/>
          </p:nvSpPr>
          <p:spPr>
            <a:xfrm rot="10800000">
              <a:off x="641358" y="5196917"/>
              <a:ext cx="2208888" cy="806999"/>
            </a:xfrm>
            <a:custGeom>
              <a:avLst/>
              <a:gdLst>
                <a:gd name="connsiteX0" fmla="*/ 1375323 w 2750647"/>
                <a:gd name="connsiteY0" fmla="*/ 974357 h 1048343"/>
                <a:gd name="connsiteX1" fmla="*/ 1901694 w 2750647"/>
                <a:gd name="connsiteY1" fmla="*/ 1011503 h 1048343"/>
                <a:gd name="connsiteX2" fmla="*/ 1926142 w 2750647"/>
                <a:gd name="connsiteY2" fmla="*/ 1016163 h 1048343"/>
                <a:gd name="connsiteX3" fmla="*/ 1789994 w 2750647"/>
                <a:gd name="connsiteY3" fmla="*/ 1031251 h 1048343"/>
                <a:gd name="connsiteX4" fmla="*/ 1375323 w 2750647"/>
                <a:gd name="connsiteY4" fmla="*/ 1048343 h 1048343"/>
                <a:gd name="connsiteX5" fmla="*/ 960652 w 2750647"/>
                <a:gd name="connsiteY5" fmla="*/ 1031251 h 1048343"/>
                <a:gd name="connsiteX6" fmla="*/ 824505 w 2750647"/>
                <a:gd name="connsiteY6" fmla="*/ 1016163 h 1048343"/>
                <a:gd name="connsiteX7" fmla="*/ 848952 w 2750647"/>
                <a:gd name="connsiteY7" fmla="*/ 1011503 h 1048343"/>
                <a:gd name="connsiteX8" fmla="*/ 1375323 w 2750647"/>
                <a:gd name="connsiteY8" fmla="*/ 974357 h 1048343"/>
                <a:gd name="connsiteX9" fmla="*/ 2750647 w 2750647"/>
                <a:gd name="connsiteY9" fmla="*/ 0 h 1048343"/>
                <a:gd name="connsiteX10" fmla="*/ 2439429 w 2750647"/>
                <a:gd name="connsiteY10" fmla="*/ 825927 h 1048343"/>
                <a:gd name="connsiteX11" fmla="*/ 2423156 w 2750647"/>
                <a:gd name="connsiteY11" fmla="*/ 869114 h 1048343"/>
                <a:gd name="connsiteX12" fmla="*/ 2419000 w 2750647"/>
                <a:gd name="connsiteY12" fmla="*/ 874674 h 1048343"/>
                <a:gd name="connsiteX13" fmla="*/ 1970954 w 2750647"/>
                <a:gd name="connsiteY13" fmla="*/ 1011196 h 1048343"/>
                <a:gd name="connsiteX14" fmla="*/ 1926142 w 2750647"/>
                <a:gd name="connsiteY14" fmla="*/ 1016162 h 1048343"/>
                <a:gd name="connsiteX15" fmla="*/ 1901694 w 2750647"/>
                <a:gd name="connsiteY15" fmla="*/ 1011502 h 1048343"/>
                <a:gd name="connsiteX16" fmla="*/ 1375323 w 2750647"/>
                <a:gd name="connsiteY16" fmla="*/ 974356 h 1048343"/>
                <a:gd name="connsiteX17" fmla="*/ 848952 w 2750647"/>
                <a:gd name="connsiteY17" fmla="*/ 1011502 h 1048343"/>
                <a:gd name="connsiteX18" fmla="*/ 824504 w 2750647"/>
                <a:gd name="connsiteY18" fmla="*/ 1016162 h 1048343"/>
                <a:gd name="connsiteX19" fmla="*/ 779692 w 2750647"/>
                <a:gd name="connsiteY19" fmla="*/ 1011196 h 1048343"/>
                <a:gd name="connsiteX20" fmla="*/ 331646 w 2750647"/>
                <a:gd name="connsiteY20" fmla="*/ 874674 h 1048343"/>
                <a:gd name="connsiteX21" fmla="*/ 327490 w 2750647"/>
                <a:gd name="connsiteY21" fmla="*/ 869114 h 1048343"/>
                <a:gd name="connsiteX22" fmla="*/ 311217 w 2750647"/>
                <a:gd name="connsiteY22" fmla="*/ 825927 h 1048343"/>
                <a:gd name="connsiteX23" fmla="*/ 0 w 2750647"/>
                <a:gd name="connsiteY23" fmla="*/ 3 h 1048343"/>
                <a:gd name="connsiteX24" fmla="*/ 1147 w 2750647"/>
                <a:gd name="connsiteY24" fmla="*/ 1168 h 1048343"/>
                <a:gd name="connsiteX25" fmla="*/ 1375322 w 2750647"/>
                <a:gd name="connsiteY25" fmla="*/ 174836 h 1048343"/>
                <a:gd name="connsiteX26" fmla="*/ 2749497 w 2750647"/>
                <a:gd name="connsiteY26" fmla="*/ 1168 h 104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0647" h="1048343">
                  <a:moveTo>
                    <a:pt x="1375323" y="974357"/>
                  </a:moveTo>
                  <a:cubicBezTo>
                    <a:pt x="1570303" y="974357"/>
                    <a:pt x="1751439" y="988051"/>
                    <a:pt x="1901694" y="1011503"/>
                  </a:cubicBezTo>
                  <a:lnTo>
                    <a:pt x="1926142" y="1016163"/>
                  </a:lnTo>
                  <a:lnTo>
                    <a:pt x="1789994" y="1031251"/>
                  </a:lnTo>
                  <a:cubicBezTo>
                    <a:pt x="1662541" y="1042257"/>
                    <a:pt x="1522414" y="1048343"/>
                    <a:pt x="1375323" y="1048343"/>
                  </a:cubicBezTo>
                  <a:cubicBezTo>
                    <a:pt x="1228233" y="1048343"/>
                    <a:pt x="1088105" y="1042257"/>
                    <a:pt x="960652" y="1031251"/>
                  </a:cubicBezTo>
                  <a:lnTo>
                    <a:pt x="824505" y="1016163"/>
                  </a:lnTo>
                  <a:lnTo>
                    <a:pt x="848952" y="1011503"/>
                  </a:lnTo>
                  <a:cubicBezTo>
                    <a:pt x="999208" y="988051"/>
                    <a:pt x="1180344" y="974357"/>
                    <a:pt x="1375323" y="974357"/>
                  </a:cubicBezTo>
                  <a:close/>
                  <a:moveTo>
                    <a:pt x="2750647" y="0"/>
                  </a:moveTo>
                  <a:lnTo>
                    <a:pt x="2439429" y="825927"/>
                  </a:lnTo>
                  <a:lnTo>
                    <a:pt x="2423156" y="869114"/>
                  </a:lnTo>
                  <a:lnTo>
                    <a:pt x="2419000" y="874674"/>
                  </a:lnTo>
                  <a:cubicBezTo>
                    <a:pt x="2362237" y="931309"/>
                    <a:pt x="2197656" y="979926"/>
                    <a:pt x="1970954" y="1011196"/>
                  </a:cubicBezTo>
                  <a:lnTo>
                    <a:pt x="1926142" y="1016162"/>
                  </a:lnTo>
                  <a:lnTo>
                    <a:pt x="1901694" y="1011502"/>
                  </a:lnTo>
                  <a:cubicBezTo>
                    <a:pt x="1751439" y="988050"/>
                    <a:pt x="1570303" y="974356"/>
                    <a:pt x="1375323" y="974356"/>
                  </a:cubicBezTo>
                  <a:cubicBezTo>
                    <a:pt x="1180343" y="974356"/>
                    <a:pt x="999208" y="988050"/>
                    <a:pt x="848952" y="1011502"/>
                  </a:cubicBezTo>
                  <a:lnTo>
                    <a:pt x="824504" y="1016162"/>
                  </a:lnTo>
                  <a:lnTo>
                    <a:pt x="779692" y="1011196"/>
                  </a:lnTo>
                  <a:cubicBezTo>
                    <a:pt x="552990" y="979926"/>
                    <a:pt x="388409" y="931309"/>
                    <a:pt x="331646" y="874674"/>
                  </a:cubicBezTo>
                  <a:lnTo>
                    <a:pt x="327490" y="869114"/>
                  </a:lnTo>
                  <a:lnTo>
                    <a:pt x="311217" y="825927"/>
                  </a:lnTo>
                  <a:lnTo>
                    <a:pt x="0" y="3"/>
                  </a:lnTo>
                  <a:lnTo>
                    <a:pt x="1147" y="1168"/>
                  </a:lnTo>
                  <a:cubicBezTo>
                    <a:pt x="131941" y="100280"/>
                    <a:pt x="697482" y="174836"/>
                    <a:pt x="1375322" y="174836"/>
                  </a:cubicBezTo>
                  <a:cubicBezTo>
                    <a:pt x="2053162" y="174836"/>
                    <a:pt x="2618703" y="100280"/>
                    <a:pt x="2749497" y="1168"/>
                  </a:cubicBezTo>
                  <a:close/>
                </a:path>
              </a:pathLst>
            </a:custGeom>
            <a:gradFill flip="none" rotWithShape="1">
              <a:gsLst>
                <a:gs pos="46000">
                  <a:schemeClr val="accent4"/>
                </a:gs>
                <a:gs pos="78000">
                  <a:schemeClr val="accent4">
                    <a:lumMod val="75000"/>
                  </a:schemeClr>
                </a:gs>
              </a:gsLst>
              <a:path path="circle">
                <a:fillToRect r="100000" b="100000"/>
              </a:path>
              <a:tileRect l="-100000" t="-100000"/>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383838"/>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69AA8FEB-781B-5DA9-1FA0-C8A908AFD209}"/>
                </a:ext>
              </a:extLst>
            </p:cNvPr>
            <p:cNvSpPr/>
            <p:nvPr/>
          </p:nvSpPr>
          <p:spPr>
            <a:xfrm flipH="1">
              <a:off x="1492809" y="5335684"/>
              <a:ext cx="515185" cy="45570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3</a:t>
              </a:r>
            </a:p>
          </p:txBody>
        </p:sp>
      </p:grpSp>
      <p:sp>
        <p:nvSpPr>
          <p:cNvPr id="36" name="Rectangle 35">
            <a:extLst>
              <a:ext uri="{FF2B5EF4-FFF2-40B4-BE49-F238E27FC236}">
                <a16:creationId xmlns:a16="http://schemas.microsoft.com/office/drawing/2014/main" id="{7CD2EF98-B762-E925-29A0-931649D37419}"/>
              </a:ext>
            </a:extLst>
          </p:cNvPr>
          <p:cNvSpPr/>
          <p:nvPr/>
        </p:nvSpPr>
        <p:spPr>
          <a:xfrm>
            <a:off x="613064" y="2310329"/>
            <a:ext cx="962891" cy="848506"/>
          </a:xfrm>
          <a:prstGeom prst="rect">
            <a:avLst/>
          </a:prstGeom>
          <a:solidFill>
            <a:srgbClr val="FFFFFF">
              <a:alpha val="6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D33F5299-A95E-5A1F-34FE-190B2869533C}"/>
              </a:ext>
            </a:extLst>
          </p:cNvPr>
          <p:cNvSpPr txBox="1"/>
          <p:nvPr/>
        </p:nvSpPr>
        <p:spPr>
          <a:xfrm>
            <a:off x="260777" y="5622230"/>
            <a:ext cx="1026096"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a:ln>
                  <a:noFill/>
                </a:ln>
                <a:solidFill>
                  <a:srgbClr val="BE5108"/>
                </a:solidFill>
                <a:effectLst/>
                <a:uLnTx/>
                <a:uFillTx/>
                <a:latin typeface="Arial" panose="020B0604020202020204" pitchFamily="34" charset="0"/>
                <a:cs typeface="Arial" panose="020B0604020202020204" pitchFamily="34" charset="0"/>
              </a:rPr>
              <a:t>Added value within a Partnership Ecosystem</a:t>
            </a:r>
          </a:p>
        </p:txBody>
      </p:sp>
      <p:sp>
        <p:nvSpPr>
          <p:cNvPr id="38" name="TextBox 37">
            <a:extLst>
              <a:ext uri="{FF2B5EF4-FFF2-40B4-BE49-F238E27FC236}">
                <a16:creationId xmlns:a16="http://schemas.microsoft.com/office/drawing/2014/main" id="{42DAC85F-1B05-68FE-3C7B-48D933CA99CA}"/>
              </a:ext>
            </a:extLst>
          </p:cNvPr>
          <p:cNvSpPr txBox="1"/>
          <p:nvPr/>
        </p:nvSpPr>
        <p:spPr>
          <a:xfrm>
            <a:off x="4321197" y="3763138"/>
            <a:ext cx="6802744" cy="20928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alue Analysi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Pct val="84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We considered the example of a local authority within UKPN’s network area, who has received funding from the Social Housing Decarbonisation Fund to undertake energy efficiency retrofits across 400 homes between 2023 and 2026. </a:t>
            </a:r>
          </a:p>
          <a:p>
            <a:pPr marL="171450" marR="0" lvl="0" indent="-171450" algn="l" defTabSz="914400" rtl="0" eaLnBrk="1" fontAlgn="auto" latinLnBrk="0" hangingPunct="1">
              <a:lnSpc>
                <a:spcPct val="100000"/>
              </a:lnSpc>
              <a:spcBef>
                <a:spcPts val="0"/>
              </a:spcBef>
              <a:spcAft>
                <a:spcPts val="0"/>
              </a:spcAft>
              <a:buClrTx/>
              <a:buSzPct val="84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o estimate the added value that a Partnership Ecosystem could unlock for each key stakeholder, we reviewed factors such as: </a:t>
            </a:r>
          </a:p>
          <a:p>
            <a:pPr marL="628650" marR="0" lvl="1" indent="-171450" algn="l" defTabSz="914400" rtl="0" eaLnBrk="1" fontAlgn="auto" latinLnBrk="0" hangingPunct="1">
              <a:lnSpc>
                <a:spcPct val="100000"/>
              </a:lnSpc>
              <a:spcBef>
                <a:spcPts val="0"/>
              </a:spcBef>
              <a:spcAft>
                <a:spcPts val="0"/>
              </a:spcAft>
              <a:buClrTx/>
              <a:buSzPct val="84000"/>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dministration and Ancillary costs associated with bid writing and governance for a Local Authority</a:t>
            </a:r>
          </a:p>
          <a:p>
            <a:pPr marL="628650" marR="0" lvl="1" indent="-171450" algn="l" defTabSz="914400" rtl="0" eaLnBrk="1" fontAlgn="auto" latinLnBrk="0" hangingPunct="1">
              <a:lnSpc>
                <a:spcPct val="100000"/>
              </a:lnSpc>
              <a:spcBef>
                <a:spcPts val="0"/>
              </a:spcBef>
              <a:spcAft>
                <a:spcPts val="0"/>
              </a:spcAft>
              <a:buClrTx/>
              <a:buSzPct val="84000"/>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otal funding received from a centrally funded energy retrofit scheme to complete retrofits</a:t>
            </a:r>
          </a:p>
          <a:p>
            <a:pPr marL="628650" marR="0" lvl="1" indent="-171450" algn="l" defTabSz="914400" rtl="0" eaLnBrk="1" fontAlgn="auto" latinLnBrk="0" hangingPunct="1">
              <a:lnSpc>
                <a:spcPct val="100000"/>
              </a:lnSpc>
              <a:spcBef>
                <a:spcPts val="0"/>
              </a:spcBef>
              <a:spcAft>
                <a:spcPts val="0"/>
              </a:spcAft>
              <a:buClrTx/>
              <a:buSzPct val="84000"/>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SO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ource </a:t>
            </a: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st to procure additional energy efficiency flexibility </a:t>
            </a:r>
          </a:p>
          <a:p>
            <a:pPr marL="628650" marR="0" lvl="1" indent="-171450" algn="l" defTabSz="914400" rtl="0" eaLnBrk="1" fontAlgn="auto" latinLnBrk="0" hangingPunct="1">
              <a:lnSpc>
                <a:spcPct val="100000"/>
              </a:lnSpc>
              <a:spcBef>
                <a:spcPts val="0"/>
              </a:spcBef>
              <a:spcAft>
                <a:spcPts val="0"/>
              </a:spcAft>
              <a:buClrTx/>
              <a:buSzPct val="84000"/>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dded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venue</a:t>
            </a:r>
            <a:r>
              <a:rPr kumimoji="0" lang="en-GB" sz="11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generated for the Local Authority by providing flexibility services to the DSO</a:t>
            </a:r>
          </a:p>
        </p:txBody>
      </p:sp>
    </p:spTree>
    <p:extLst>
      <p:ext uri="{BB962C8B-B14F-4D97-AF65-F5344CB8AC3E}">
        <p14:creationId xmlns:p14="http://schemas.microsoft.com/office/powerpoint/2010/main" val="4147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726C4BD-3371-054F-4705-9C79BDE696BC}"/>
              </a:ext>
            </a:extLst>
          </p:cNvPr>
          <p:cNvSpPr/>
          <p:nvPr/>
        </p:nvSpPr>
        <p:spPr>
          <a:xfrm>
            <a:off x="10012218" y="5551055"/>
            <a:ext cx="1948873" cy="10252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9B9A516-9EF8-1608-5DAE-8F608598184C}"/>
              </a:ext>
            </a:extLst>
          </p:cNvPr>
          <p:cNvSpPr/>
          <p:nvPr/>
        </p:nvSpPr>
        <p:spPr>
          <a:xfrm>
            <a:off x="6206157" y="1770088"/>
            <a:ext cx="2472550" cy="973263"/>
          </a:xfrm>
          <a:prstGeom prst="rect">
            <a:avLst/>
          </a:prstGeom>
          <a:solidFill>
            <a:schemeClr val="tx1">
              <a:lumMod val="50000"/>
              <a:lumOff val="50000"/>
              <a:alpha val="3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49E521F-3C21-CB1D-E898-0D12A46439AB}"/>
              </a:ext>
            </a:extLst>
          </p:cNvPr>
          <p:cNvSpPr>
            <a:spLocks noGrp="1"/>
          </p:cNvSpPr>
          <p:nvPr>
            <p:ph type="title"/>
          </p:nvPr>
        </p:nvSpPr>
        <p:spPr>
          <a:xfrm>
            <a:off x="134754" y="527884"/>
            <a:ext cx="12057245" cy="511175"/>
          </a:xfrm>
        </p:spPr>
        <p:txBody>
          <a:bodyPr>
            <a:normAutofit fontScale="90000"/>
          </a:bodyPr>
          <a:lstStyle/>
          <a:p>
            <a:r>
              <a:rPr lang="en-GB" dirty="0"/>
              <a:t>Work Package 3: Roles and Responsibilities for Tier 1 Stakeholders </a:t>
            </a:r>
          </a:p>
        </p:txBody>
      </p:sp>
      <p:sp>
        <p:nvSpPr>
          <p:cNvPr id="10" name="Rectangle 9">
            <a:extLst>
              <a:ext uri="{FF2B5EF4-FFF2-40B4-BE49-F238E27FC236}">
                <a16:creationId xmlns:a16="http://schemas.microsoft.com/office/drawing/2014/main" id="{5AC4D4BC-896A-8812-E1CE-FDDFE4532E62}"/>
              </a:ext>
            </a:extLst>
          </p:cNvPr>
          <p:cNvSpPr/>
          <p:nvPr/>
        </p:nvSpPr>
        <p:spPr>
          <a:xfrm>
            <a:off x="662683" y="1774240"/>
            <a:ext cx="2472550" cy="959039"/>
          </a:xfrm>
          <a:prstGeom prst="rect">
            <a:avLst/>
          </a:prstGeom>
          <a:solidFill>
            <a:schemeClr val="tx1">
              <a:lumMod val="50000"/>
              <a:lumOff val="50000"/>
              <a:alpha val="3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AB41265-E0B4-2BA8-BDD1-4CD80F550609}"/>
              </a:ext>
            </a:extLst>
          </p:cNvPr>
          <p:cNvSpPr/>
          <p:nvPr/>
        </p:nvSpPr>
        <p:spPr>
          <a:xfrm>
            <a:off x="8977894" y="2399528"/>
            <a:ext cx="2472550" cy="4065431"/>
          </a:xfrm>
          <a:prstGeom prst="rect">
            <a:avLst/>
          </a:prstGeom>
          <a:solidFill>
            <a:schemeClr val="accent2">
              <a:lumMod val="20000"/>
              <a:lumOff val="80000"/>
              <a:alpha val="6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Continue to take primary role in the provision of Sustain flexibility to the DS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rovide upskilling / knowledge share to the wider group of Tier 1 stakeholders to inform the Local Authorities / Social H</a:t>
            </a:r>
            <a:r>
              <a:rPr lang="en-GB" sz="1000" dirty="0" err="1">
                <a:solidFill>
                  <a:schemeClr val="tx1"/>
                </a:solidFill>
                <a:latin typeface="Arial" panose="020B0604020202020204" pitchFamily="34" charset="0"/>
                <a:cs typeface="Arial" panose="020B0604020202020204" pitchFamily="34" charset="0"/>
              </a:rPr>
              <a:t>ousing</a:t>
            </a:r>
            <a:r>
              <a:rPr lang="en-GB" sz="1000" dirty="0">
                <a:solidFill>
                  <a:schemeClr val="tx1"/>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roviders who wish to take on this role (less lik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stablish resource requirements, and minimum acceptable incentive levels  to participate in energy efficiency flexibi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dirty="0">
              <a:solidFill>
                <a:schemeClr val="tx1"/>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dirty="0">
              <a:solidFill>
                <a:schemeClr val="tx1"/>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B1302CC-5026-DF80-4BB8-E48F63D93F3E}"/>
              </a:ext>
            </a:extLst>
          </p:cNvPr>
          <p:cNvSpPr/>
          <p:nvPr/>
        </p:nvSpPr>
        <p:spPr>
          <a:xfrm>
            <a:off x="6206157" y="1868393"/>
            <a:ext cx="2472550" cy="4621008"/>
          </a:xfrm>
          <a:prstGeom prst="rect">
            <a:avLst/>
          </a:prstGeom>
          <a:solidFill>
            <a:schemeClr val="bg1">
              <a:lumMod val="85000"/>
              <a:alpha val="3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livering energy efficiency retrofi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Undertaking baselining of historical consumption and be able to accurately calculate the aggregated volumes of sustain flexibility that may be provided to the DS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rovide an end-to-end platform that includes asset monitoring, control and virtual power plants to readily provide increased volumes of sustain flexibility to the DS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stablish resource requirements, and minimum acceptable incentive levels to participate in energy efficiency flexibility</a:t>
            </a:r>
          </a:p>
        </p:txBody>
      </p:sp>
      <p:sp>
        <p:nvSpPr>
          <p:cNvPr id="13" name="Rectangle 12">
            <a:extLst>
              <a:ext uri="{FF2B5EF4-FFF2-40B4-BE49-F238E27FC236}">
                <a16:creationId xmlns:a16="http://schemas.microsoft.com/office/drawing/2014/main" id="{17A0A478-58C0-95AB-27F3-2A0A4135F17B}"/>
              </a:ext>
            </a:extLst>
          </p:cNvPr>
          <p:cNvSpPr/>
          <p:nvPr/>
        </p:nvSpPr>
        <p:spPr>
          <a:xfrm>
            <a:off x="3434420" y="1948712"/>
            <a:ext cx="2472550" cy="4523179"/>
          </a:xfrm>
          <a:prstGeom prst="rect">
            <a:avLst/>
          </a:prstGeom>
          <a:solidFill>
            <a:schemeClr val="accent2">
              <a:lumMod val="20000"/>
              <a:lumOff val="80000"/>
              <a:alpha val="6117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stablish resource requirements, and minimum acceptable incentive levels to participate in energy efficiency flexibi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ggregate relevant properties under their management portfolio to meet flexibility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Use existing funding for efficiency upgrades to either: </a:t>
            </a:r>
          </a:p>
          <a:p>
            <a:pPr marL="228600" marR="0" lvl="0" indent="-228600" algn="l" defTabSz="914400" rtl="0" eaLnBrk="1" fontAlgn="auto" latinLnBrk="0" hangingPunct="1">
              <a:lnSpc>
                <a:spcPct val="100000"/>
              </a:lnSpc>
              <a:spcBef>
                <a:spcPts val="0"/>
              </a:spcBef>
              <a:spcAft>
                <a:spcPts val="0"/>
              </a:spcAft>
              <a:buClrTx/>
              <a:buSzPct val="49000"/>
              <a:buFont typeface="Arial" panose="020B060402020202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Operate independently as flexibility service providers and provide sustain flexibility directly to the DSO </a:t>
            </a:r>
          </a:p>
          <a:p>
            <a:pPr marL="228600" marR="0" lvl="0" indent="-228600" algn="l" defTabSz="914400" rtl="0" eaLnBrk="1" fontAlgn="auto" latinLnBrk="0" hangingPunct="1">
              <a:lnSpc>
                <a:spcPct val="100000"/>
              </a:lnSpc>
              <a:spcBef>
                <a:spcPts val="0"/>
              </a:spcBef>
              <a:spcAft>
                <a:spcPts val="0"/>
              </a:spcAft>
              <a:buClrTx/>
              <a:buSzPct val="49000"/>
              <a:buFont typeface="Arial" panose="020B060402020202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Or work closely with a Flexibility Aggregator to do the same </a:t>
            </a:r>
          </a:p>
        </p:txBody>
      </p:sp>
      <p:sp>
        <p:nvSpPr>
          <p:cNvPr id="14" name="Rectangle 13">
            <a:extLst>
              <a:ext uri="{FF2B5EF4-FFF2-40B4-BE49-F238E27FC236}">
                <a16:creationId xmlns:a16="http://schemas.microsoft.com/office/drawing/2014/main" id="{A034A168-BC75-0C68-89DF-A388CC093E5F}"/>
              </a:ext>
            </a:extLst>
          </p:cNvPr>
          <p:cNvSpPr/>
          <p:nvPr/>
        </p:nvSpPr>
        <p:spPr>
          <a:xfrm>
            <a:off x="662683" y="2397078"/>
            <a:ext cx="2472550" cy="4067993"/>
          </a:xfrm>
          <a:prstGeom prst="rect">
            <a:avLst/>
          </a:prstGeom>
          <a:solidFill>
            <a:schemeClr val="bg1">
              <a:lumMod val="85000"/>
              <a:alpha val="3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dirty="0">
              <a:solidFill>
                <a:schemeClr val="tx1"/>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ccurately establish and communicate network constraint needs to supply chai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Consulting with other Tier 1 stakeholders to understand their need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rovide knowledge sharing and upskilling to allow new market entrants to provide sustain flexibility from energy efficienc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fining of roles across the procurement supply chai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Changing procurement processes, timelines, contractual chang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Reviewing utilisation fees offered to new possible market entrant</a:t>
            </a:r>
            <a:endParaRPr kumimoji="0" lang="en-GB" sz="10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17" name="Graphic 16" descr="Electric Tower with solid fill">
            <a:extLst>
              <a:ext uri="{FF2B5EF4-FFF2-40B4-BE49-F238E27FC236}">
                <a16:creationId xmlns:a16="http://schemas.microsoft.com/office/drawing/2014/main" id="{146595EF-1583-F293-EDE1-8083A7840E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9135" y="2143166"/>
            <a:ext cx="484974" cy="484974"/>
          </a:xfrm>
          <a:prstGeom prst="rect">
            <a:avLst/>
          </a:prstGeom>
          <a:effectLst/>
        </p:spPr>
      </p:pic>
      <p:grpSp>
        <p:nvGrpSpPr>
          <p:cNvPr id="19" name="Google Shape;1648;p66">
            <a:extLst>
              <a:ext uri="{FF2B5EF4-FFF2-40B4-BE49-F238E27FC236}">
                <a16:creationId xmlns:a16="http://schemas.microsoft.com/office/drawing/2014/main" id="{D2C99FA0-A714-5A85-B312-25FC79160149}"/>
              </a:ext>
            </a:extLst>
          </p:cNvPr>
          <p:cNvGrpSpPr/>
          <p:nvPr/>
        </p:nvGrpSpPr>
        <p:grpSpPr>
          <a:xfrm>
            <a:off x="6472967" y="2154064"/>
            <a:ext cx="422216" cy="424470"/>
            <a:chOff x="6522468" y="2827131"/>
            <a:chExt cx="560287" cy="530116"/>
          </a:xfrm>
          <a:solidFill>
            <a:srgbClr val="79111B"/>
          </a:solidFill>
          <a:effectLst/>
        </p:grpSpPr>
        <p:sp>
          <p:nvSpPr>
            <p:cNvPr id="20" name="Google Shape;1649;p66">
              <a:extLst>
                <a:ext uri="{FF2B5EF4-FFF2-40B4-BE49-F238E27FC236}">
                  <a16:creationId xmlns:a16="http://schemas.microsoft.com/office/drawing/2014/main" id="{C86CF932-48EE-6D82-283C-1BB1AF31F142}"/>
                </a:ext>
              </a:extLst>
            </p:cNvPr>
            <p:cNvSpPr/>
            <p:nvPr/>
          </p:nvSpPr>
          <p:spPr>
            <a:xfrm>
              <a:off x="6897428" y="2930568"/>
              <a:ext cx="150848" cy="129297"/>
            </a:xfrm>
            <a:custGeom>
              <a:avLst/>
              <a:gdLst/>
              <a:ahLst/>
              <a:cxnLst/>
              <a:rect l="l" t="t" r="r" b="b"/>
              <a:pathLst>
                <a:path w="162" h="141" extrusionOk="0">
                  <a:moveTo>
                    <a:pt x="82" y="47"/>
                  </a:moveTo>
                  <a:cubicBezTo>
                    <a:pt x="6" y="86"/>
                    <a:pt x="6" y="86"/>
                    <a:pt x="6" y="86"/>
                  </a:cubicBezTo>
                  <a:cubicBezTo>
                    <a:pt x="2" y="88"/>
                    <a:pt x="0" y="91"/>
                    <a:pt x="0" y="95"/>
                  </a:cubicBezTo>
                  <a:cubicBezTo>
                    <a:pt x="0" y="130"/>
                    <a:pt x="0" y="130"/>
                    <a:pt x="0" y="130"/>
                  </a:cubicBezTo>
                  <a:cubicBezTo>
                    <a:pt x="0" y="136"/>
                    <a:pt x="5" y="141"/>
                    <a:pt x="10" y="141"/>
                  </a:cubicBezTo>
                  <a:cubicBezTo>
                    <a:pt x="16" y="141"/>
                    <a:pt x="21" y="136"/>
                    <a:pt x="21" y="130"/>
                  </a:cubicBezTo>
                  <a:cubicBezTo>
                    <a:pt x="21" y="102"/>
                    <a:pt x="21" y="102"/>
                    <a:pt x="21" y="102"/>
                  </a:cubicBezTo>
                  <a:cubicBezTo>
                    <a:pt x="91" y="66"/>
                    <a:pt x="91" y="66"/>
                    <a:pt x="91" y="66"/>
                  </a:cubicBezTo>
                  <a:cubicBezTo>
                    <a:pt x="99" y="74"/>
                    <a:pt x="110" y="79"/>
                    <a:pt x="121" y="79"/>
                  </a:cubicBezTo>
                  <a:cubicBezTo>
                    <a:pt x="121" y="79"/>
                    <a:pt x="121" y="79"/>
                    <a:pt x="121" y="79"/>
                  </a:cubicBezTo>
                  <a:cubicBezTo>
                    <a:pt x="127" y="79"/>
                    <a:pt x="133" y="78"/>
                    <a:pt x="138" y="75"/>
                  </a:cubicBezTo>
                  <a:cubicBezTo>
                    <a:pt x="148" y="71"/>
                    <a:pt x="155" y="63"/>
                    <a:pt x="159" y="53"/>
                  </a:cubicBezTo>
                  <a:cubicBezTo>
                    <a:pt x="162" y="43"/>
                    <a:pt x="162" y="32"/>
                    <a:pt x="157" y="22"/>
                  </a:cubicBezTo>
                  <a:cubicBezTo>
                    <a:pt x="151" y="9"/>
                    <a:pt x="137" y="0"/>
                    <a:pt x="121" y="0"/>
                  </a:cubicBezTo>
                  <a:cubicBezTo>
                    <a:pt x="115" y="0"/>
                    <a:pt x="110" y="1"/>
                    <a:pt x="104" y="4"/>
                  </a:cubicBezTo>
                  <a:cubicBezTo>
                    <a:pt x="95" y="8"/>
                    <a:pt x="87" y="16"/>
                    <a:pt x="84" y="26"/>
                  </a:cubicBezTo>
                  <a:cubicBezTo>
                    <a:pt x="82" y="33"/>
                    <a:pt x="81" y="40"/>
                    <a:pt x="82" y="47"/>
                  </a:cubicBezTo>
                  <a:close/>
                  <a:moveTo>
                    <a:pt x="103" y="33"/>
                  </a:moveTo>
                  <a:cubicBezTo>
                    <a:pt x="105" y="28"/>
                    <a:pt x="109" y="25"/>
                    <a:pt x="113" y="22"/>
                  </a:cubicBezTo>
                  <a:cubicBezTo>
                    <a:pt x="116" y="21"/>
                    <a:pt x="119" y="21"/>
                    <a:pt x="121" y="21"/>
                  </a:cubicBezTo>
                  <a:cubicBezTo>
                    <a:pt x="129" y="21"/>
                    <a:pt x="135" y="25"/>
                    <a:pt x="139" y="31"/>
                  </a:cubicBezTo>
                  <a:cubicBezTo>
                    <a:pt x="141" y="36"/>
                    <a:pt x="141" y="41"/>
                    <a:pt x="139" y="46"/>
                  </a:cubicBezTo>
                  <a:cubicBezTo>
                    <a:pt x="138" y="51"/>
                    <a:pt x="134" y="55"/>
                    <a:pt x="130" y="57"/>
                  </a:cubicBezTo>
                  <a:cubicBezTo>
                    <a:pt x="127" y="58"/>
                    <a:pt x="124" y="59"/>
                    <a:pt x="121" y="59"/>
                  </a:cubicBezTo>
                  <a:cubicBezTo>
                    <a:pt x="114" y="59"/>
                    <a:pt x="107" y="54"/>
                    <a:pt x="104" y="48"/>
                  </a:cubicBezTo>
                  <a:cubicBezTo>
                    <a:pt x="102" y="43"/>
                    <a:pt x="102" y="38"/>
                    <a:pt x="103" y="33"/>
                  </a:cubicBez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1" name="Google Shape;1650;p66">
              <a:extLst>
                <a:ext uri="{FF2B5EF4-FFF2-40B4-BE49-F238E27FC236}">
                  <a16:creationId xmlns:a16="http://schemas.microsoft.com/office/drawing/2014/main" id="{96B65F0A-2AFD-3AE8-BEC5-6B94C11DAD76}"/>
                </a:ext>
              </a:extLst>
            </p:cNvPr>
            <p:cNvSpPr/>
            <p:nvPr/>
          </p:nvSpPr>
          <p:spPr>
            <a:xfrm>
              <a:off x="6850021" y="2840059"/>
              <a:ext cx="124988" cy="211186"/>
            </a:xfrm>
            <a:custGeom>
              <a:avLst/>
              <a:gdLst/>
              <a:ahLst/>
              <a:cxnLst/>
              <a:rect l="l" t="t" r="r" b="b"/>
              <a:pathLst>
                <a:path w="135" h="224" extrusionOk="0">
                  <a:moveTo>
                    <a:pt x="11" y="224"/>
                  </a:moveTo>
                  <a:cubicBezTo>
                    <a:pt x="16" y="224"/>
                    <a:pt x="21" y="220"/>
                    <a:pt x="21" y="214"/>
                  </a:cubicBezTo>
                  <a:cubicBezTo>
                    <a:pt x="21" y="164"/>
                    <a:pt x="21" y="164"/>
                    <a:pt x="21" y="164"/>
                  </a:cubicBezTo>
                  <a:cubicBezTo>
                    <a:pt x="100" y="124"/>
                    <a:pt x="100" y="124"/>
                    <a:pt x="100" y="124"/>
                  </a:cubicBezTo>
                  <a:cubicBezTo>
                    <a:pt x="103" y="123"/>
                    <a:pt x="105" y="119"/>
                    <a:pt x="105" y="115"/>
                  </a:cubicBezTo>
                  <a:cubicBezTo>
                    <a:pt x="105" y="78"/>
                    <a:pt x="105" y="78"/>
                    <a:pt x="105" y="78"/>
                  </a:cubicBezTo>
                  <a:cubicBezTo>
                    <a:pt x="122" y="73"/>
                    <a:pt x="135" y="58"/>
                    <a:pt x="135" y="40"/>
                  </a:cubicBezTo>
                  <a:cubicBezTo>
                    <a:pt x="135" y="18"/>
                    <a:pt x="117" y="0"/>
                    <a:pt x="95" y="0"/>
                  </a:cubicBezTo>
                  <a:cubicBezTo>
                    <a:pt x="73" y="0"/>
                    <a:pt x="55" y="18"/>
                    <a:pt x="55" y="40"/>
                  </a:cubicBezTo>
                  <a:cubicBezTo>
                    <a:pt x="55" y="58"/>
                    <a:pt x="68" y="73"/>
                    <a:pt x="85" y="78"/>
                  </a:cubicBezTo>
                  <a:cubicBezTo>
                    <a:pt x="85" y="109"/>
                    <a:pt x="85" y="109"/>
                    <a:pt x="85" y="109"/>
                  </a:cubicBezTo>
                  <a:cubicBezTo>
                    <a:pt x="6" y="149"/>
                    <a:pt x="6" y="149"/>
                    <a:pt x="6" y="149"/>
                  </a:cubicBezTo>
                  <a:cubicBezTo>
                    <a:pt x="2" y="151"/>
                    <a:pt x="0" y="154"/>
                    <a:pt x="0" y="158"/>
                  </a:cubicBezTo>
                  <a:cubicBezTo>
                    <a:pt x="0" y="214"/>
                    <a:pt x="0" y="214"/>
                    <a:pt x="0" y="214"/>
                  </a:cubicBezTo>
                  <a:cubicBezTo>
                    <a:pt x="0" y="220"/>
                    <a:pt x="5" y="224"/>
                    <a:pt x="11" y="224"/>
                  </a:cubicBezTo>
                  <a:close/>
                  <a:moveTo>
                    <a:pt x="76" y="40"/>
                  </a:moveTo>
                  <a:cubicBezTo>
                    <a:pt x="76" y="29"/>
                    <a:pt x="84" y="21"/>
                    <a:pt x="95" y="21"/>
                  </a:cubicBezTo>
                  <a:cubicBezTo>
                    <a:pt x="105" y="21"/>
                    <a:pt x="114" y="29"/>
                    <a:pt x="114" y="40"/>
                  </a:cubicBezTo>
                  <a:cubicBezTo>
                    <a:pt x="114" y="50"/>
                    <a:pt x="105" y="59"/>
                    <a:pt x="95" y="59"/>
                  </a:cubicBezTo>
                  <a:cubicBezTo>
                    <a:pt x="84" y="59"/>
                    <a:pt x="76" y="50"/>
                    <a:pt x="76" y="40"/>
                  </a:cubicBez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2" name="Google Shape;1651;p66">
              <a:extLst>
                <a:ext uri="{FF2B5EF4-FFF2-40B4-BE49-F238E27FC236}">
                  <a16:creationId xmlns:a16="http://schemas.microsoft.com/office/drawing/2014/main" id="{6154BAD5-3CF0-B948-ACA5-CB952D5822E0}"/>
                </a:ext>
              </a:extLst>
            </p:cNvPr>
            <p:cNvSpPr/>
            <p:nvPr/>
          </p:nvSpPr>
          <p:spPr>
            <a:xfrm>
              <a:off x="6768131" y="2827131"/>
              <a:ext cx="77578" cy="215495"/>
            </a:xfrm>
            <a:custGeom>
              <a:avLst/>
              <a:gdLst/>
              <a:ahLst/>
              <a:cxnLst/>
              <a:rect l="l" t="t" r="r" b="b"/>
              <a:pathLst>
                <a:path w="79" h="231" extrusionOk="0">
                  <a:moveTo>
                    <a:pt x="29" y="77"/>
                  </a:moveTo>
                  <a:cubicBezTo>
                    <a:pt x="29" y="78"/>
                    <a:pt x="29" y="78"/>
                    <a:pt x="29" y="78"/>
                  </a:cubicBezTo>
                  <a:cubicBezTo>
                    <a:pt x="29" y="221"/>
                    <a:pt x="29" y="221"/>
                    <a:pt x="29" y="221"/>
                  </a:cubicBezTo>
                  <a:cubicBezTo>
                    <a:pt x="29" y="226"/>
                    <a:pt x="34" y="231"/>
                    <a:pt x="39" y="231"/>
                  </a:cubicBezTo>
                  <a:cubicBezTo>
                    <a:pt x="45" y="231"/>
                    <a:pt x="50" y="226"/>
                    <a:pt x="50" y="221"/>
                  </a:cubicBezTo>
                  <a:cubicBezTo>
                    <a:pt x="50" y="78"/>
                    <a:pt x="50" y="78"/>
                    <a:pt x="50" y="78"/>
                  </a:cubicBezTo>
                  <a:cubicBezTo>
                    <a:pt x="50" y="78"/>
                    <a:pt x="50" y="78"/>
                    <a:pt x="50" y="77"/>
                  </a:cubicBezTo>
                  <a:cubicBezTo>
                    <a:pt x="66" y="73"/>
                    <a:pt x="79" y="58"/>
                    <a:pt x="79" y="39"/>
                  </a:cubicBezTo>
                  <a:cubicBezTo>
                    <a:pt x="79" y="17"/>
                    <a:pt x="61" y="0"/>
                    <a:pt x="39" y="0"/>
                  </a:cubicBezTo>
                  <a:cubicBezTo>
                    <a:pt x="17" y="0"/>
                    <a:pt x="0" y="17"/>
                    <a:pt x="0" y="39"/>
                  </a:cubicBezTo>
                  <a:cubicBezTo>
                    <a:pt x="0" y="58"/>
                    <a:pt x="12" y="73"/>
                    <a:pt x="29" y="77"/>
                  </a:cubicBezTo>
                  <a:close/>
                  <a:moveTo>
                    <a:pt x="39" y="20"/>
                  </a:moveTo>
                  <a:cubicBezTo>
                    <a:pt x="50" y="20"/>
                    <a:pt x="58" y="29"/>
                    <a:pt x="58" y="39"/>
                  </a:cubicBezTo>
                  <a:cubicBezTo>
                    <a:pt x="58" y="50"/>
                    <a:pt x="50" y="58"/>
                    <a:pt x="39" y="58"/>
                  </a:cubicBezTo>
                  <a:cubicBezTo>
                    <a:pt x="29" y="58"/>
                    <a:pt x="20" y="50"/>
                    <a:pt x="20" y="39"/>
                  </a:cubicBezTo>
                  <a:cubicBezTo>
                    <a:pt x="20" y="29"/>
                    <a:pt x="29" y="20"/>
                    <a:pt x="39" y="20"/>
                  </a:cubicBez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3" name="Google Shape;1652;p66">
              <a:extLst>
                <a:ext uri="{FF2B5EF4-FFF2-40B4-BE49-F238E27FC236}">
                  <a16:creationId xmlns:a16="http://schemas.microsoft.com/office/drawing/2014/main" id="{1FE3A0D2-236D-C0E1-C8BA-340A0256BFDD}"/>
                </a:ext>
              </a:extLst>
            </p:cNvPr>
            <p:cNvSpPr/>
            <p:nvPr/>
          </p:nvSpPr>
          <p:spPr>
            <a:xfrm>
              <a:off x="6561256" y="2930568"/>
              <a:ext cx="155156" cy="129297"/>
            </a:xfrm>
            <a:custGeom>
              <a:avLst/>
              <a:gdLst/>
              <a:ahLst/>
              <a:cxnLst/>
              <a:rect l="l" t="t" r="r" b="b"/>
              <a:pathLst>
                <a:path w="167" h="141" extrusionOk="0">
                  <a:moveTo>
                    <a:pt x="28" y="75"/>
                  </a:moveTo>
                  <a:cubicBezTo>
                    <a:pt x="33" y="78"/>
                    <a:pt x="39" y="79"/>
                    <a:pt x="45" y="79"/>
                  </a:cubicBezTo>
                  <a:cubicBezTo>
                    <a:pt x="57" y="79"/>
                    <a:pt x="68" y="74"/>
                    <a:pt x="75" y="66"/>
                  </a:cubicBezTo>
                  <a:cubicBezTo>
                    <a:pt x="146" y="102"/>
                    <a:pt x="146" y="102"/>
                    <a:pt x="146" y="102"/>
                  </a:cubicBezTo>
                  <a:cubicBezTo>
                    <a:pt x="146" y="130"/>
                    <a:pt x="146" y="130"/>
                    <a:pt x="146" y="130"/>
                  </a:cubicBezTo>
                  <a:cubicBezTo>
                    <a:pt x="146" y="136"/>
                    <a:pt x="150" y="141"/>
                    <a:pt x="156" y="141"/>
                  </a:cubicBezTo>
                  <a:cubicBezTo>
                    <a:pt x="162" y="141"/>
                    <a:pt x="167" y="136"/>
                    <a:pt x="167" y="130"/>
                  </a:cubicBezTo>
                  <a:cubicBezTo>
                    <a:pt x="167" y="95"/>
                    <a:pt x="167" y="95"/>
                    <a:pt x="167" y="95"/>
                  </a:cubicBezTo>
                  <a:cubicBezTo>
                    <a:pt x="167" y="91"/>
                    <a:pt x="164" y="88"/>
                    <a:pt x="161" y="86"/>
                  </a:cubicBezTo>
                  <a:cubicBezTo>
                    <a:pt x="84" y="47"/>
                    <a:pt x="84" y="47"/>
                    <a:pt x="84" y="47"/>
                  </a:cubicBezTo>
                  <a:cubicBezTo>
                    <a:pt x="85" y="40"/>
                    <a:pt x="85" y="33"/>
                    <a:pt x="83" y="26"/>
                  </a:cubicBezTo>
                  <a:cubicBezTo>
                    <a:pt x="79" y="16"/>
                    <a:pt x="72" y="8"/>
                    <a:pt x="62" y="4"/>
                  </a:cubicBezTo>
                  <a:cubicBezTo>
                    <a:pt x="57" y="1"/>
                    <a:pt x="51" y="0"/>
                    <a:pt x="45" y="0"/>
                  </a:cubicBezTo>
                  <a:cubicBezTo>
                    <a:pt x="30" y="0"/>
                    <a:pt x="16" y="9"/>
                    <a:pt x="9" y="22"/>
                  </a:cubicBezTo>
                  <a:cubicBezTo>
                    <a:pt x="0" y="42"/>
                    <a:pt x="8" y="66"/>
                    <a:pt x="28" y="75"/>
                  </a:cubicBezTo>
                  <a:close/>
                  <a:moveTo>
                    <a:pt x="28" y="31"/>
                  </a:moveTo>
                  <a:cubicBezTo>
                    <a:pt x="31" y="25"/>
                    <a:pt x="38" y="21"/>
                    <a:pt x="45" y="21"/>
                  </a:cubicBezTo>
                  <a:cubicBezTo>
                    <a:pt x="48" y="21"/>
                    <a:pt x="51" y="21"/>
                    <a:pt x="53" y="22"/>
                  </a:cubicBezTo>
                  <a:cubicBezTo>
                    <a:pt x="58" y="25"/>
                    <a:pt x="61" y="28"/>
                    <a:pt x="63" y="33"/>
                  </a:cubicBezTo>
                  <a:cubicBezTo>
                    <a:pt x="65" y="38"/>
                    <a:pt x="65" y="43"/>
                    <a:pt x="62" y="48"/>
                  </a:cubicBezTo>
                  <a:cubicBezTo>
                    <a:pt x="58" y="57"/>
                    <a:pt x="46" y="61"/>
                    <a:pt x="37" y="57"/>
                  </a:cubicBezTo>
                  <a:cubicBezTo>
                    <a:pt x="28" y="52"/>
                    <a:pt x="23" y="41"/>
                    <a:pt x="28" y="31"/>
                  </a:cubicBez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4" name="Google Shape;1653;p66">
              <a:extLst>
                <a:ext uri="{FF2B5EF4-FFF2-40B4-BE49-F238E27FC236}">
                  <a16:creationId xmlns:a16="http://schemas.microsoft.com/office/drawing/2014/main" id="{E1E80E02-0277-3089-334B-A9ED6AC32EDA}"/>
                </a:ext>
              </a:extLst>
            </p:cNvPr>
            <p:cNvSpPr/>
            <p:nvPr/>
          </p:nvSpPr>
          <p:spPr>
            <a:xfrm>
              <a:off x="6638834" y="2840059"/>
              <a:ext cx="124988" cy="211186"/>
            </a:xfrm>
            <a:custGeom>
              <a:avLst/>
              <a:gdLst/>
              <a:ahLst/>
              <a:cxnLst/>
              <a:rect l="l" t="t" r="r" b="b"/>
              <a:pathLst>
                <a:path w="134" h="224" extrusionOk="0">
                  <a:moveTo>
                    <a:pt x="29" y="78"/>
                  </a:moveTo>
                  <a:cubicBezTo>
                    <a:pt x="29" y="115"/>
                    <a:pt x="29" y="115"/>
                    <a:pt x="29" y="115"/>
                  </a:cubicBezTo>
                  <a:cubicBezTo>
                    <a:pt x="29" y="119"/>
                    <a:pt x="31" y="123"/>
                    <a:pt x="35" y="124"/>
                  </a:cubicBezTo>
                  <a:cubicBezTo>
                    <a:pt x="114" y="164"/>
                    <a:pt x="114" y="164"/>
                    <a:pt x="114" y="164"/>
                  </a:cubicBezTo>
                  <a:cubicBezTo>
                    <a:pt x="114" y="214"/>
                    <a:pt x="114" y="214"/>
                    <a:pt x="114" y="214"/>
                  </a:cubicBezTo>
                  <a:cubicBezTo>
                    <a:pt x="114" y="220"/>
                    <a:pt x="118" y="224"/>
                    <a:pt x="124" y="224"/>
                  </a:cubicBezTo>
                  <a:cubicBezTo>
                    <a:pt x="130" y="224"/>
                    <a:pt x="134" y="220"/>
                    <a:pt x="134" y="214"/>
                  </a:cubicBezTo>
                  <a:cubicBezTo>
                    <a:pt x="134" y="158"/>
                    <a:pt x="134" y="158"/>
                    <a:pt x="134" y="158"/>
                  </a:cubicBezTo>
                  <a:cubicBezTo>
                    <a:pt x="134" y="154"/>
                    <a:pt x="132" y="151"/>
                    <a:pt x="129" y="149"/>
                  </a:cubicBezTo>
                  <a:cubicBezTo>
                    <a:pt x="50" y="109"/>
                    <a:pt x="50" y="109"/>
                    <a:pt x="50" y="109"/>
                  </a:cubicBezTo>
                  <a:cubicBezTo>
                    <a:pt x="50" y="78"/>
                    <a:pt x="50" y="78"/>
                    <a:pt x="50" y="78"/>
                  </a:cubicBezTo>
                  <a:cubicBezTo>
                    <a:pt x="67" y="73"/>
                    <a:pt x="79" y="58"/>
                    <a:pt x="79" y="40"/>
                  </a:cubicBezTo>
                  <a:cubicBezTo>
                    <a:pt x="79" y="18"/>
                    <a:pt x="62" y="0"/>
                    <a:pt x="40" y="0"/>
                  </a:cubicBezTo>
                  <a:cubicBezTo>
                    <a:pt x="18" y="0"/>
                    <a:pt x="0" y="18"/>
                    <a:pt x="0" y="40"/>
                  </a:cubicBezTo>
                  <a:cubicBezTo>
                    <a:pt x="0" y="58"/>
                    <a:pt x="12" y="73"/>
                    <a:pt x="29" y="78"/>
                  </a:cubicBezTo>
                  <a:close/>
                  <a:moveTo>
                    <a:pt x="40" y="21"/>
                  </a:moveTo>
                  <a:cubicBezTo>
                    <a:pt x="50" y="21"/>
                    <a:pt x="59" y="29"/>
                    <a:pt x="59" y="40"/>
                  </a:cubicBezTo>
                  <a:cubicBezTo>
                    <a:pt x="59" y="50"/>
                    <a:pt x="50" y="59"/>
                    <a:pt x="40" y="59"/>
                  </a:cubicBezTo>
                  <a:cubicBezTo>
                    <a:pt x="29" y="59"/>
                    <a:pt x="21" y="50"/>
                    <a:pt x="21" y="40"/>
                  </a:cubicBezTo>
                  <a:cubicBezTo>
                    <a:pt x="21" y="29"/>
                    <a:pt x="29" y="21"/>
                    <a:pt x="40" y="21"/>
                  </a:cubicBez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5" name="Google Shape;1654;p66">
              <a:extLst>
                <a:ext uri="{FF2B5EF4-FFF2-40B4-BE49-F238E27FC236}">
                  <a16:creationId xmlns:a16="http://schemas.microsoft.com/office/drawing/2014/main" id="{BE7C52A5-A5ED-139E-63DD-212BA86C1B2C}"/>
                </a:ext>
              </a:extLst>
            </p:cNvPr>
            <p:cNvSpPr/>
            <p:nvPr/>
          </p:nvSpPr>
          <p:spPr>
            <a:xfrm>
              <a:off x="6522468" y="3055554"/>
              <a:ext cx="560287" cy="301693"/>
            </a:xfrm>
            <a:custGeom>
              <a:avLst/>
              <a:gdLst/>
              <a:ahLst/>
              <a:cxnLst/>
              <a:rect l="l" t="t" r="r" b="b"/>
              <a:pathLst>
                <a:path w="602" h="320" extrusionOk="0">
                  <a:moveTo>
                    <a:pt x="474" y="108"/>
                  </a:moveTo>
                  <a:cubicBezTo>
                    <a:pt x="441" y="57"/>
                    <a:pt x="404" y="0"/>
                    <a:pt x="301" y="0"/>
                  </a:cubicBezTo>
                  <a:cubicBezTo>
                    <a:pt x="211" y="0"/>
                    <a:pt x="174" y="48"/>
                    <a:pt x="131" y="103"/>
                  </a:cubicBezTo>
                  <a:cubicBezTo>
                    <a:pt x="130" y="105"/>
                    <a:pt x="130" y="105"/>
                    <a:pt x="130" y="105"/>
                  </a:cubicBezTo>
                  <a:cubicBezTo>
                    <a:pt x="57" y="109"/>
                    <a:pt x="0" y="170"/>
                    <a:pt x="0" y="243"/>
                  </a:cubicBezTo>
                  <a:cubicBezTo>
                    <a:pt x="0" y="258"/>
                    <a:pt x="0" y="258"/>
                    <a:pt x="0" y="258"/>
                  </a:cubicBezTo>
                  <a:cubicBezTo>
                    <a:pt x="0" y="263"/>
                    <a:pt x="5" y="268"/>
                    <a:pt x="10" y="268"/>
                  </a:cubicBezTo>
                  <a:cubicBezTo>
                    <a:pt x="101" y="268"/>
                    <a:pt x="101" y="268"/>
                    <a:pt x="101" y="268"/>
                  </a:cubicBezTo>
                  <a:cubicBezTo>
                    <a:pt x="108" y="298"/>
                    <a:pt x="135" y="320"/>
                    <a:pt x="166" y="320"/>
                  </a:cubicBezTo>
                  <a:cubicBezTo>
                    <a:pt x="198" y="320"/>
                    <a:pt x="224" y="298"/>
                    <a:pt x="231" y="268"/>
                  </a:cubicBezTo>
                  <a:cubicBezTo>
                    <a:pt x="390" y="268"/>
                    <a:pt x="390" y="268"/>
                    <a:pt x="390" y="268"/>
                  </a:cubicBezTo>
                  <a:cubicBezTo>
                    <a:pt x="397" y="298"/>
                    <a:pt x="423" y="320"/>
                    <a:pt x="455" y="320"/>
                  </a:cubicBezTo>
                  <a:cubicBezTo>
                    <a:pt x="486" y="320"/>
                    <a:pt x="513" y="298"/>
                    <a:pt x="520" y="268"/>
                  </a:cubicBezTo>
                  <a:cubicBezTo>
                    <a:pt x="592" y="268"/>
                    <a:pt x="592" y="268"/>
                    <a:pt x="592" y="268"/>
                  </a:cubicBezTo>
                  <a:cubicBezTo>
                    <a:pt x="598" y="268"/>
                    <a:pt x="602" y="263"/>
                    <a:pt x="602" y="258"/>
                  </a:cubicBezTo>
                  <a:cubicBezTo>
                    <a:pt x="602" y="243"/>
                    <a:pt x="602" y="243"/>
                    <a:pt x="602" y="243"/>
                  </a:cubicBezTo>
                  <a:cubicBezTo>
                    <a:pt x="602" y="176"/>
                    <a:pt x="539" y="122"/>
                    <a:pt x="474" y="108"/>
                  </a:cubicBezTo>
                  <a:close/>
                  <a:moveTo>
                    <a:pt x="447" y="105"/>
                  </a:moveTo>
                  <a:cubicBezTo>
                    <a:pt x="445" y="105"/>
                    <a:pt x="443" y="105"/>
                    <a:pt x="442" y="105"/>
                  </a:cubicBezTo>
                  <a:cubicBezTo>
                    <a:pt x="321" y="105"/>
                    <a:pt x="321" y="105"/>
                    <a:pt x="321" y="105"/>
                  </a:cubicBezTo>
                  <a:cubicBezTo>
                    <a:pt x="321" y="21"/>
                    <a:pt x="321" y="21"/>
                    <a:pt x="321" y="21"/>
                  </a:cubicBezTo>
                  <a:cubicBezTo>
                    <a:pt x="385" y="27"/>
                    <a:pt x="416" y="59"/>
                    <a:pt x="447" y="105"/>
                  </a:cubicBezTo>
                  <a:close/>
                  <a:moveTo>
                    <a:pt x="300" y="20"/>
                  </a:moveTo>
                  <a:cubicBezTo>
                    <a:pt x="300" y="105"/>
                    <a:pt x="300" y="105"/>
                    <a:pt x="300" y="105"/>
                  </a:cubicBezTo>
                  <a:cubicBezTo>
                    <a:pt x="156" y="105"/>
                    <a:pt x="156" y="105"/>
                    <a:pt x="156" y="105"/>
                  </a:cubicBezTo>
                  <a:cubicBezTo>
                    <a:pt x="195" y="55"/>
                    <a:pt x="226" y="21"/>
                    <a:pt x="300" y="20"/>
                  </a:cubicBezTo>
                  <a:close/>
                  <a:moveTo>
                    <a:pt x="166" y="299"/>
                  </a:moveTo>
                  <a:cubicBezTo>
                    <a:pt x="141" y="299"/>
                    <a:pt x="120" y="279"/>
                    <a:pt x="120" y="253"/>
                  </a:cubicBezTo>
                  <a:cubicBezTo>
                    <a:pt x="120" y="228"/>
                    <a:pt x="141" y="207"/>
                    <a:pt x="166" y="207"/>
                  </a:cubicBezTo>
                  <a:cubicBezTo>
                    <a:pt x="191" y="207"/>
                    <a:pt x="212" y="228"/>
                    <a:pt x="212" y="253"/>
                  </a:cubicBezTo>
                  <a:cubicBezTo>
                    <a:pt x="212" y="279"/>
                    <a:pt x="191" y="299"/>
                    <a:pt x="166" y="299"/>
                  </a:cubicBezTo>
                  <a:close/>
                  <a:moveTo>
                    <a:pt x="455" y="299"/>
                  </a:moveTo>
                  <a:cubicBezTo>
                    <a:pt x="429" y="299"/>
                    <a:pt x="409" y="279"/>
                    <a:pt x="409" y="253"/>
                  </a:cubicBezTo>
                  <a:cubicBezTo>
                    <a:pt x="409" y="228"/>
                    <a:pt x="429" y="207"/>
                    <a:pt x="455" y="207"/>
                  </a:cubicBezTo>
                  <a:cubicBezTo>
                    <a:pt x="480" y="207"/>
                    <a:pt x="501" y="228"/>
                    <a:pt x="501" y="253"/>
                  </a:cubicBezTo>
                  <a:cubicBezTo>
                    <a:pt x="501" y="279"/>
                    <a:pt x="480" y="299"/>
                    <a:pt x="455" y="299"/>
                  </a:cubicBezTo>
                  <a:close/>
                  <a:moveTo>
                    <a:pt x="582" y="247"/>
                  </a:moveTo>
                  <a:cubicBezTo>
                    <a:pt x="521" y="247"/>
                    <a:pt x="521" y="247"/>
                    <a:pt x="521" y="247"/>
                  </a:cubicBezTo>
                  <a:cubicBezTo>
                    <a:pt x="518" y="213"/>
                    <a:pt x="489" y="187"/>
                    <a:pt x="455" y="187"/>
                  </a:cubicBezTo>
                  <a:cubicBezTo>
                    <a:pt x="420" y="187"/>
                    <a:pt x="392" y="213"/>
                    <a:pt x="389" y="247"/>
                  </a:cubicBezTo>
                  <a:cubicBezTo>
                    <a:pt x="232" y="247"/>
                    <a:pt x="232" y="247"/>
                    <a:pt x="232" y="247"/>
                  </a:cubicBezTo>
                  <a:cubicBezTo>
                    <a:pt x="229" y="213"/>
                    <a:pt x="201" y="187"/>
                    <a:pt x="166" y="187"/>
                  </a:cubicBezTo>
                  <a:cubicBezTo>
                    <a:pt x="132" y="187"/>
                    <a:pt x="103" y="213"/>
                    <a:pt x="100" y="247"/>
                  </a:cubicBezTo>
                  <a:cubicBezTo>
                    <a:pt x="21" y="247"/>
                    <a:pt x="21" y="247"/>
                    <a:pt x="21" y="247"/>
                  </a:cubicBezTo>
                  <a:cubicBezTo>
                    <a:pt x="21" y="243"/>
                    <a:pt x="21" y="243"/>
                    <a:pt x="21" y="243"/>
                  </a:cubicBezTo>
                  <a:cubicBezTo>
                    <a:pt x="21" y="178"/>
                    <a:pt x="73" y="125"/>
                    <a:pt x="138" y="125"/>
                  </a:cubicBezTo>
                  <a:cubicBezTo>
                    <a:pt x="442" y="125"/>
                    <a:pt x="442" y="125"/>
                    <a:pt x="442" y="125"/>
                  </a:cubicBezTo>
                  <a:cubicBezTo>
                    <a:pt x="505" y="125"/>
                    <a:pt x="582" y="178"/>
                    <a:pt x="582" y="243"/>
                  </a:cubicBezTo>
                  <a:lnTo>
                    <a:pt x="582" y="247"/>
                  </a:lnTo>
                  <a:close/>
                </a:path>
              </a:pathLst>
            </a:custGeom>
            <a:grpFill/>
            <a:ln w="9525">
              <a:solidFill>
                <a:srgbClr val="79111B"/>
              </a:solidFill>
            </a:ln>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grpSp>
      <p:sp>
        <p:nvSpPr>
          <p:cNvPr id="27" name="TextBox 26">
            <a:extLst>
              <a:ext uri="{FF2B5EF4-FFF2-40B4-BE49-F238E27FC236}">
                <a16:creationId xmlns:a16="http://schemas.microsoft.com/office/drawing/2014/main" id="{732F5AD0-B68A-FCDD-43AC-7028388DB030}"/>
              </a:ext>
            </a:extLst>
          </p:cNvPr>
          <p:cNvSpPr txBox="1"/>
          <p:nvPr/>
        </p:nvSpPr>
        <p:spPr>
          <a:xfrm>
            <a:off x="1238723" y="1777818"/>
            <a:ext cx="168988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effectLst/>
                <a:uLnTx/>
                <a:uFillTx/>
                <a:latin typeface="Arial" panose="020B0604020202020204" pitchFamily="34" charset="0"/>
                <a:cs typeface="Arial" panose="020B0604020202020204" pitchFamily="34" charset="0"/>
              </a:rPr>
              <a:t>Distribution System Operators </a:t>
            </a:r>
          </a:p>
        </p:txBody>
      </p:sp>
      <p:sp>
        <p:nvSpPr>
          <p:cNvPr id="31" name="TextBox 30">
            <a:extLst>
              <a:ext uri="{FF2B5EF4-FFF2-40B4-BE49-F238E27FC236}">
                <a16:creationId xmlns:a16="http://schemas.microsoft.com/office/drawing/2014/main" id="{9B663A5F-71D0-2EAD-59D1-04A2AADF091C}"/>
              </a:ext>
            </a:extLst>
          </p:cNvPr>
          <p:cNvSpPr txBox="1"/>
          <p:nvPr/>
        </p:nvSpPr>
        <p:spPr>
          <a:xfrm>
            <a:off x="6684075" y="1777818"/>
            <a:ext cx="2235200"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effectLst/>
                <a:uLnTx/>
                <a:uFillTx/>
                <a:latin typeface="Arial" panose="020B0604020202020204" pitchFamily="34" charset="0"/>
                <a:cs typeface="Arial" panose="020B0604020202020204" pitchFamily="34" charset="0"/>
              </a:rPr>
              <a:t>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effectLst/>
                <a:uLnTx/>
                <a:uFillTx/>
                <a:latin typeface="Arial" panose="020B0604020202020204" pitchFamily="34" charset="0"/>
                <a:cs typeface="Arial" panose="020B0604020202020204" pitchFamily="34" charset="0"/>
              </a:rPr>
              <a:t>Management Companies </a:t>
            </a:r>
          </a:p>
        </p:txBody>
      </p:sp>
      <p:sp>
        <p:nvSpPr>
          <p:cNvPr id="35" name="TextBox 34">
            <a:extLst>
              <a:ext uri="{FF2B5EF4-FFF2-40B4-BE49-F238E27FC236}">
                <a16:creationId xmlns:a16="http://schemas.microsoft.com/office/drawing/2014/main" id="{A247B78C-5E91-067F-8388-6B3F4FFD4E3C}"/>
              </a:ext>
            </a:extLst>
          </p:cNvPr>
          <p:cNvSpPr txBox="1"/>
          <p:nvPr/>
        </p:nvSpPr>
        <p:spPr>
          <a:xfrm>
            <a:off x="3434421" y="6316587"/>
            <a:ext cx="8016024" cy="461665"/>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79111B"/>
                </a:solidFill>
                <a:effectLst/>
                <a:uLnTx/>
                <a:uFillTx/>
                <a:latin typeface="Arial" panose="020B0604020202020204" pitchFamily="34" charset="0"/>
                <a:cs typeface="Arial" panose="020B0604020202020204" pitchFamily="34" charset="0"/>
              </a:rPr>
              <a:t>Tier 2 and 3 organisations will have a role in enabling the wider supply chain to uptake energy efficiency flexibility and unlocking added benefits, and will also be engaged with during future phases of this project </a:t>
            </a:r>
          </a:p>
        </p:txBody>
      </p:sp>
      <p:sp>
        <p:nvSpPr>
          <p:cNvPr id="16" name="TextBox 15">
            <a:extLst>
              <a:ext uri="{FF2B5EF4-FFF2-40B4-BE49-F238E27FC236}">
                <a16:creationId xmlns:a16="http://schemas.microsoft.com/office/drawing/2014/main" id="{89742697-749A-A028-66B1-0E42C8E080D1}"/>
              </a:ext>
            </a:extLst>
          </p:cNvPr>
          <p:cNvSpPr txBox="1"/>
          <p:nvPr/>
        </p:nvSpPr>
        <p:spPr>
          <a:xfrm>
            <a:off x="492748" y="1061957"/>
            <a:ext cx="11257818"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effectLst/>
                <a:uLnTx/>
                <a:uFillTx/>
                <a:latin typeface="Arial" panose="020B0604020202020204" pitchFamily="34" charset="0"/>
                <a:cs typeface="Arial" panose="020B0604020202020204" pitchFamily="34" charset="0"/>
              </a:rPr>
              <a:t>Identified  the roles of the most critical stakeholders that could come work together to define an impactful partnership ecosystem for energy efficiency flexibility</a:t>
            </a:r>
            <a:endParaRPr kumimoji="0" lang="en-GB" sz="17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2DF2889-E6FC-3279-3A7D-5A7D71763A3C}"/>
              </a:ext>
            </a:extLst>
          </p:cNvPr>
          <p:cNvSpPr/>
          <p:nvPr/>
        </p:nvSpPr>
        <p:spPr>
          <a:xfrm>
            <a:off x="3434420" y="1768085"/>
            <a:ext cx="2472550" cy="959039"/>
          </a:xfrm>
          <a:prstGeom prst="rect">
            <a:avLst/>
          </a:prstGeom>
          <a:solidFill>
            <a:srgbClr val="F8CBA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4E00692-2EAE-38A2-6AF6-59ADBA605AA1}"/>
              </a:ext>
            </a:extLst>
          </p:cNvPr>
          <p:cNvSpPr/>
          <p:nvPr/>
        </p:nvSpPr>
        <p:spPr>
          <a:xfrm>
            <a:off x="8977894" y="1768085"/>
            <a:ext cx="2472550" cy="959039"/>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pic>
        <p:nvPicPr>
          <p:cNvPr id="15" name="Graphic 14" descr="Bank with solid fill">
            <a:extLst>
              <a:ext uri="{FF2B5EF4-FFF2-40B4-BE49-F238E27FC236}">
                <a16:creationId xmlns:a16="http://schemas.microsoft.com/office/drawing/2014/main" id="{21ADB130-DE32-9715-2DD0-92080FE317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22586" y="2154064"/>
            <a:ext cx="463178" cy="463178"/>
          </a:xfrm>
          <a:prstGeom prst="rect">
            <a:avLst/>
          </a:prstGeom>
          <a:effectLst/>
        </p:spPr>
      </p:pic>
      <p:sp>
        <p:nvSpPr>
          <p:cNvPr id="18" name="Google Shape;6941;p92">
            <a:extLst>
              <a:ext uri="{FF2B5EF4-FFF2-40B4-BE49-F238E27FC236}">
                <a16:creationId xmlns:a16="http://schemas.microsoft.com/office/drawing/2014/main" id="{CCDE3BD2-6967-355F-8D3F-1BED8B627E25}"/>
              </a:ext>
            </a:extLst>
          </p:cNvPr>
          <p:cNvSpPr/>
          <p:nvPr/>
        </p:nvSpPr>
        <p:spPr>
          <a:xfrm>
            <a:off x="9172277" y="2173300"/>
            <a:ext cx="449831" cy="367172"/>
          </a:xfrm>
          <a:custGeom>
            <a:avLst/>
            <a:gdLst/>
            <a:ahLst/>
            <a:cxnLst/>
            <a:rect l="l" t="t" r="r" b="b"/>
            <a:pathLst>
              <a:path w="215" h="215" extrusionOk="0">
                <a:moveTo>
                  <a:pt x="159" y="39"/>
                </a:moveTo>
                <a:cubicBezTo>
                  <a:pt x="158" y="38"/>
                  <a:pt x="157" y="37"/>
                  <a:pt x="155" y="37"/>
                </a:cubicBezTo>
                <a:cubicBezTo>
                  <a:pt x="154" y="37"/>
                  <a:pt x="152" y="38"/>
                  <a:pt x="152" y="39"/>
                </a:cubicBezTo>
                <a:cubicBezTo>
                  <a:pt x="141" y="77"/>
                  <a:pt x="141" y="77"/>
                  <a:pt x="141" y="77"/>
                </a:cubicBezTo>
                <a:cubicBezTo>
                  <a:pt x="122" y="10"/>
                  <a:pt x="122" y="10"/>
                  <a:pt x="122" y="10"/>
                </a:cubicBezTo>
                <a:cubicBezTo>
                  <a:pt x="122" y="8"/>
                  <a:pt x="121" y="7"/>
                  <a:pt x="119" y="7"/>
                </a:cubicBezTo>
                <a:cubicBezTo>
                  <a:pt x="117" y="7"/>
                  <a:pt x="116" y="8"/>
                  <a:pt x="116" y="10"/>
                </a:cubicBezTo>
                <a:cubicBezTo>
                  <a:pt x="86" y="118"/>
                  <a:pt x="86" y="118"/>
                  <a:pt x="86" y="118"/>
                </a:cubicBezTo>
                <a:cubicBezTo>
                  <a:pt x="78" y="94"/>
                  <a:pt x="78" y="94"/>
                  <a:pt x="78" y="94"/>
                </a:cubicBezTo>
                <a:cubicBezTo>
                  <a:pt x="78" y="93"/>
                  <a:pt x="77" y="92"/>
                  <a:pt x="75" y="92"/>
                </a:cubicBezTo>
                <a:cubicBezTo>
                  <a:pt x="73" y="92"/>
                  <a:pt x="72" y="93"/>
                  <a:pt x="72" y="94"/>
                </a:cubicBezTo>
                <a:cubicBezTo>
                  <a:pt x="39" y="193"/>
                  <a:pt x="39" y="193"/>
                  <a:pt x="39" y="193"/>
                </a:cubicBezTo>
                <a:cubicBezTo>
                  <a:pt x="23" y="193"/>
                  <a:pt x="23" y="193"/>
                  <a:pt x="23" y="193"/>
                </a:cubicBezTo>
                <a:cubicBezTo>
                  <a:pt x="23" y="178"/>
                  <a:pt x="23" y="178"/>
                  <a:pt x="23" y="178"/>
                </a:cubicBezTo>
                <a:cubicBezTo>
                  <a:pt x="33" y="178"/>
                  <a:pt x="33" y="178"/>
                  <a:pt x="33" y="178"/>
                </a:cubicBezTo>
                <a:cubicBezTo>
                  <a:pt x="33" y="171"/>
                  <a:pt x="33" y="171"/>
                  <a:pt x="33" y="171"/>
                </a:cubicBezTo>
                <a:cubicBezTo>
                  <a:pt x="23" y="171"/>
                  <a:pt x="23" y="171"/>
                  <a:pt x="23" y="171"/>
                </a:cubicBezTo>
                <a:cubicBezTo>
                  <a:pt x="23" y="153"/>
                  <a:pt x="23" y="153"/>
                  <a:pt x="23" y="153"/>
                </a:cubicBezTo>
                <a:cubicBezTo>
                  <a:pt x="33" y="153"/>
                  <a:pt x="33" y="153"/>
                  <a:pt x="33" y="153"/>
                </a:cubicBezTo>
                <a:cubicBezTo>
                  <a:pt x="33" y="146"/>
                  <a:pt x="33" y="146"/>
                  <a:pt x="33" y="146"/>
                </a:cubicBezTo>
                <a:cubicBezTo>
                  <a:pt x="23" y="146"/>
                  <a:pt x="23" y="146"/>
                  <a:pt x="23" y="146"/>
                </a:cubicBezTo>
                <a:cubicBezTo>
                  <a:pt x="23" y="128"/>
                  <a:pt x="23" y="128"/>
                  <a:pt x="23" y="128"/>
                </a:cubicBezTo>
                <a:cubicBezTo>
                  <a:pt x="33" y="128"/>
                  <a:pt x="33" y="128"/>
                  <a:pt x="33" y="128"/>
                </a:cubicBezTo>
                <a:cubicBezTo>
                  <a:pt x="33" y="120"/>
                  <a:pt x="33" y="120"/>
                  <a:pt x="33" y="120"/>
                </a:cubicBezTo>
                <a:cubicBezTo>
                  <a:pt x="23" y="120"/>
                  <a:pt x="23" y="120"/>
                  <a:pt x="23" y="120"/>
                </a:cubicBezTo>
                <a:cubicBezTo>
                  <a:pt x="23" y="102"/>
                  <a:pt x="23" y="102"/>
                  <a:pt x="23" y="102"/>
                </a:cubicBezTo>
                <a:cubicBezTo>
                  <a:pt x="33" y="102"/>
                  <a:pt x="33" y="102"/>
                  <a:pt x="33" y="102"/>
                </a:cubicBezTo>
                <a:cubicBezTo>
                  <a:pt x="33" y="95"/>
                  <a:pt x="33" y="95"/>
                  <a:pt x="33" y="95"/>
                </a:cubicBezTo>
                <a:cubicBezTo>
                  <a:pt x="23" y="95"/>
                  <a:pt x="23" y="95"/>
                  <a:pt x="23" y="95"/>
                </a:cubicBezTo>
                <a:cubicBezTo>
                  <a:pt x="23" y="77"/>
                  <a:pt x="23" y="77"/>
                  <a:pt x="23" y="77"/>
                </a:cubicBezTo>
                <a:cubicBezTo>
                  <a:pt x="33" y="77"/>
                  <a:pt x="33" y="77"/>
                  <a:pt x="33" y="77"/>
                </a:cubicBezTo>
                <a:cubicBezTo>
                  <a:pt x="33" y="70"/>
                  <a:pt x="33" y="70"/>
                  <a:pt x="33" y="70"/>
                </a:cubicBezTo>
                <a:cubicBezTo>
                  <a:pt x="23" y="70"/>
                  <a:pt x="23" y="70"/>
                  <a:pt x="23" y="70"/>
                </a:cubicBezTo>
                <a:cubicBezTo>
                  <a:pt x="23" y="51"/>
                  <a:pt x="23" y="51"/>
                  <a:pt x="23" y="51"/>
                </a:cubicBezTo>
                <a:cubicBezTo>
                  <a:pt x="33" y="51"/>
                  <a:pt x="33" y="51"/>
                  <a:pt x="33" y="51"/>
                </a:cubicBezTo>
                <a:cubicBezTo>
                  <a:pt x="33" y="44"/>
                  <a:pt x="33" y="44"/>
                  <a:pt x="33" y="44"/>
                </a:cubicBezTo>
                <a:cubicBezTo>
                  <a:pt x="23" y="44"/>
                  <a:pt x="23" y="44"/>
                  <a:pt x="23" y="44"/>
                </a:cubicBezTo>
                <a:cubicBezTo>
                  <a:pt x="23" y="26"/>
                  <a:pt x="23" y="26"/>
                  <a:pt x="23" y="26"/>
                </a:cubicBezTo>
                <a:cubicBezTo>
                  <a:pt x="33" y="26"/>
                  <a:pt x="33" y="26"/>
                  <a:pt x="33" y="26"/>
                </a:cubicBezTo>
                <a:cubicBezTo>
                  <a:pt x="33" y="19"/>
                  <a:pt x="33" y="19"/>
                  <a:pt x="33" y="19"/>
                </a:cubicBezTo>
                <a:cubicBezTo>
                  <a:pt x="23" y="19"/>
                  <a:pt x="23" y="19"/>
                  <a:pt x="23" y="19"/>
                </a:cubicBezTo>
                <a:cubicBezTo>
                  <a:pt x="23" y="0"/>
                  <a:pt x="23" y="0"/>
                  <a:pt x="23" y="0"/>
                </a:cubicBezTo>
                <a:cubicBezTo>
                  <a:pt x="16" y="0"/>
                  <a:pt x="16" y="0"/>
                  <a:pt x="16" y="0"/>
                </a:cubicBezTo>
                <a:cubicBezTo>
                  <a:pt x="16" y="193"/>
                  <a:pt x="16" y="193"/>
                  <a:pt x="16" y="193"/>
                </a:cubicBezTo>
                <a:cubicBezTo>
                  <a:pt x="0" y="193"/>
                  <a:pt x="0" y="193"/>
                  <a:pt x="0" y="193"/>
                </a:cubicBezTo>
                <a:cubicBezTo>
                  <a:pt x="0" y="200"/>
                  <a:pt x="0" y="200"/>
                  <a:pt x="0" y="200"/>
                </a:cubicBezTo>
                <a:cubicBezTo>
                  <a:pt x="16" y="200"/>
                  <a:pt x="16" y="200"/>
                  <a:pt x="16" y="200"/>
                </a:cubicBezTo>
                <a:cubicBezTo>
                  <a:pt x="16" y="215"/>
                  <a:pt x="16" y="215"/>
                  <a:pt x="16" y="215"/>
                </a:cubicBezTo>
                <a:cubicBezTo>
                  <a:pt x="23" y="215"/>
                  <a:pt x="23" y="215"/>
                  <a:pt x="23" y="215"/>
                </a:cubicBezTo>
                <a:cubicBezTo>
                  <a:pt x="23" y="200"/>
                  <a:pt x="23" y="200"/>
                  <a:pt x="23" y="200"/>
                </a:cubicBezTo>
                <a:cubicBezTo>
                  <a:pt x="41" y="200"/>
                  <a:pt x="41" y="200"/>
                  <a:pt x="41" y="200"/>
                </a:cubicBezTo>
                <a:cubicBezTo>
                  <a:pt x="69" y="200"/>
                  <a:pt x="69" y="200"/>
                  <a:pt x="69" y="200"/>
                </a:cubicBezTo>
                <a:cubicBezTo>
                  <a:pt x="109" y="200"/>
                  <a:pt x="109" y="200"/>
                  <a:pt x="109" y="200"/>
                </a:cubicBezTo>
                <a:cubicBezTo>
                  <a:pt x="110" y="200"/>
                  <a:pt x="110" y="200"/>
                  <a:pt x="110" y="200"/>
                </a:cubicBezTo>
                <a:cubicBezTo>
                  <a:pt x="169" y="200"/>
                  <a:pt x="169" y="200"/>
                  <a:pt x="169" y="200"/>
                </a:cubicBezTo>
                <a:cubicBezTo>
                  <a:pt x="200" y="200"/>
                  <a:pt x="200" y="200"/>
                  <a:pt x="200" y="200"/>
                </a:cubicBezTo>
                <a:cubicBezTo>
                  <a:pt x="215" y="200"/>
                  <a:pt x="215" y="200"/>
                  <a:pt x="215" y="200"/>
                </a:cubicBezTo>
                <a:cubicBezTo>
                  <a:pt x="215" y="193"/>
                  <a:pt x="215" y="193"/>
                  <a:pt x="215" y="193"/>
                </a:cubicBezTo>
                <a:cubicBezTo>
                  <a:pt x="203" y="193"/>
                  <a:pt x="203" y="193"/>
                  <a:pt x="203" y="193"/>
                </a:cubicBezTo>
                <a:lnTo>
                  <a:pt x="159" y="39"/>
                </a:lnTo>
                <a:close/>
                <a:moveTo>
                  <a:pt x="66" y="193"/>
                </a:moveTo>
                <a:cubicBezTo>
                  <a:pt x="46" y="193"/>
                  <a:pt x="46" y="193"/>
                  <a:pt x="46" y="193"/>
                </a:cubicBezTo>
                <a:cubicBezTo>
                  <a:pt x="75" y="107"/>
                  <a:pt x="75" y="107"/>
                  <a:pt x="75" y="107"/>
                </a:cubicBezTo>
                <a:cubicBezTo>
                  <a:pt x="83" y="130"/>
                  <a:pt x="83" y="130"/>
                  <a:pt x="83" y="130"/>
                </a:cubicBezTo>
                <a:cubicBezTo>
                  <a:pt x="76" y="156"/>
                  <a:pt x="76" y="156"/>
                  <a:pt x="76" y="156"/>
                </a:cubicBezTo>
                <a:lnTo>
                  <a:pt x="66" y="193"/>
                </a:lnTo>
                <a:close/>
                <a:moveTo>
                  <a:pt x="73" y="193"/>
                </a:moveTo>
                <a:cubicBezTo>
                  <a:pt x="78" y="178"/>
                  <a:pt x="78" y="178"/>
                  <a:pt x="78" y="178"/>
                </a:cubicBezTo>
                <a:cubicBezTo>
                  <a:pt x="87" y="143"/>
                  <a:pt x="87" y="143"/>
                  <a:pt x="87" y="143"/>
                </a:cubicBezTo>
                <a:cubicBezTo>
                  <a:pt x="97" y="174"/>
                  <a:pt x="97" y="174"/>
                  <a:pt x="97" y="174"/>
                </a:cubicBezTo>
                <a:cubicBezTo>
                  <a:pt x="104" y="193"/>
                  <a:pt x="104" y="193"/>
                  <a:pt x="104" y="193"/>
                </a:cubicBezTo>
                <a:lnTo>
                  <a:pt x="73" y="193"/>
                </a:lnTo>
                <a:close/>
                <a:moveTo>
                  <a:pt x="109" y="187"/>
                </a:moveTo>
                <a:cubicBezTo>
                  <a:pt x="90" y="130"/>
                  <a:pt x="90" y="130"/>
                  <a:pt x="90" y="130"/>
                </a:cubicBezTo>
                <a:cubicBezTo>
                  <a:pt x="119" y="24"/>
                  <a:pt x="119" y="24"/>
                  <a:pt x="119" y="24"/>
                </a:cubicBezTo>
                <a:cubicBezTo>
                  <a:pt x="137" y="90"/>
                  <a:pt x="137" y="90"/>
                  <a:pt x="137" y="90"/>
                </a:cubicBezTo>
                <a:lnTo>
                  <a:pt x="109" y="187"/>
                </a:lnTo>
                <a:close/>
                <a:moveTo>
                  <a:pt x="115" y="193"/>
                </a:moveTo>
                <a:cubicBezTo>
                  <a:pt x="141" y="104"/>
                  <a:pt x="141" y="104"/>
                  <a:pt x="141" y="104"/>
                </a:cubicBezTo>
                <a:cubicBezTo>
                  <a:pt x="150" y="139"/>
                  <a:pt x="150" y="139"/>
                  <a:pt x="150" y="139"/>
                </a:cubicBezTo>
                <a:cubicBezTo>
                  <a:pt x="165" y="193"/>
                  <a:pt x="165" y="193"/>
                  <a:pt x="165" y="193"/>
                </a:cubicBezTo>
                <a:lnTo>
                  <a:pt x="115" y="193"/>
                </a:lnTo>
                <a:close/>
                <a:moveTo>
                  <a:pt x="172" y="193"/>
                </a:moveTo>
                <a:cubicBezTo>
                  <a:pt x="162" y="156"/>
                  <a:pt x="162" y="156"/>
                  <a:pt x="162" y="156"/>
                </a:cubicBezTo>
                <a:cubicBezTo>
                  <a:pt x="144" y="91"/>
                  <a:pt x="144" y="91"/>
                  <a:pt x="144" y="91"/>
                </a:cubicBezTo>
                <a:cubicBezTo>
                  <a:pt x="155" y="53"/>
                  <a:pt x="155" y="53"/>
                  <a:pt x="155" y="53"/>
                </a:cubicBezTo>
                <a:cubicBezTo>
                  <a:pt x="195" y="193"/>
                  <a:pt x="195" y="193"/>
                  <a:pt x="195" y="193"/>
                </a:cubicBezTo>
                <a:lnTo>
                  <a:pt x="172" y="193"/>
                </a:lnTo>
                <a:close/>
              </a:path>
            </a:pathLst>
          </a:custGeom>
          <a:solidFill>
            <a:srgbClr val="79111B"/>
          </a:solidFill>
          <a:ln w="6350">
            <a:solidFill>
              <a:srgbClr val="79111B"/>
            </a:solidFill>
          </a:ln>
          <a:effectLst/>
        </p:spPr>
        <p:txBody>
          <a:bodyPr spcFirstLastPara="1" wrap="square" lIns="79125" tIns="39550" rIns="79125" bIns="39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effectLst/>
              <a:uLnTx/>
              <a:uFillTx/>
              <a:latin typeface="Arial" panose="020B0604020202020204" pitchFamily="34" charset="0"/>
              <a:ea typeface="Arial"/>
              <a:cs typeface="Arial" panose="020B0604020202020204" pitchFamily="34" charset="0"/>
              <a:sym typeface="Arial"/>
            </a:endParaRPr>
          </a:p>
        </p:txBody>
      </p:sp>
      <p:sp>
        <p:nvSpPr>
          <p:cNvPr id="29" name="TextBox 28">
            <a:extLst>
              <a:ext uri="{FF2B5EF4-FFF2-40B4-BE49-F238E27FC236}">
                <a16:creationId xmlns:a16="http://schemas.microsoft.com/office/drawing/2014/main" id="{F1BD7806-C598-7E6B-0E40-2076FFFB1752}"/>
              </a:ext>
            </a:extLst>
          </p:cNvPr>
          <p:cNvSpPr txBox="1"/>
          <p:nvPr/>
        </p:nvSpPr>
        <p:spPr>
          <a:xfrm>
            <a:off x="3758789" y="1777818"/>
            <a:ext cx="2337211"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effectLst/>
                <a:uLnTx/>
                <a:uFillTx/>
                <a:latin typeface="Arial" panose="020B0604020202020204" pitchFamily="34" charset="0"/>
                <a:cs typeface="Arial" panose="020B0604020202020204" pitchFamily="34" charset="0"/>
              </a:rPr>
              <a:t>Local Authorities/Social Housing Providers </a:t>
            </a:r>
          </a:p>
        </p:txBody>
      </p:sp>
      <p:sp>
        <p:nvSpPr>
          <p:cNvPr id="34" name="TextBox 33">
            <a:extLst>
              <a:ext uri="{FF2B5EF4-FFF2-40B4-BE49-F238E27FC236}">
                <a16:creationId xmlns:a16="http://schemas.microsoft.com/office/drawing/2014/main" id="{70C2A49E-E205-781C-A53A-A90CDC303241}"/>
              </a:ext>
            </a:extLst>
          </p:cNvPr>
          <p:cNvSpPr txBox="1"/>
          <p:nvPr/>
        </p:nvSpPr>
        <p:spPr>
          <a:xfrm>
            <a:off x="9713372" y="1948712"/>
            <a:ext cx="185347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effectLst/>
                <a:uLnTx/>
                <a:uFillTx/>
                <a:latin typeface="Arial" panose="020B0604020202020204" pitchFamily="34" charset="0"/>
                <a:cs typeface="Arial" panose="020B0604020202020204" pitchFamily="34" charset="0"/>
              </a:rPr>
              <a:t>Flexibility Aggregators </a:t>
            </a:r>
          </a:p>
        </p:txBody>
      </p:sp>
      <p:pic>
        <p:nvPicPr>
          <p:cNvPr id="4" name="Picture 3" descr="Sia Partners Introduces SiaGPT | Business Wire">
            <a:extLst>
              <a:ext uri="{FF2B5EF4-FFF2-40B4-BE49-F238E27FC236}">
                <a16:creationId xmlns:a16="http://schemas.microsoft.com/office/drawing/2014/main" id="{3CFCA5DE-FCB7-FA07-88BE-5B0590460B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984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C23479-3C5C-A846-D348-54A2B1A1EAF0}"/>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64CE264-E582-97BB-979B-6AEC15AF7376}"/>
              </a:ext>
            </a:extLst>
          </p:cNvPr>
          <p:cNvSpPr>
            <a:spLocks noGrp="1"/>
          </p:cNvSpPr>
          <p:nvPr>
            <p:ph type="title"/>
          </p:nvPr>
        </p:nvSpPr>
        <p:spPr/>
        <p:txBody>
          <a:bodyPr>
            <a:normAutofit/>
          </a:bodyPr>
          <a:lstStyle/>
          <a:p>
            <a:r>
              <a:rPr lang="en-GB" sz="2800"/>
              <a:t>Key Takeaways </a:t>
            </a:r>
          </a:p>
        </p:txBody>
      </p:sp>
      <p:sp>
        <p:nvSpPr>
          <p:cNvPr id="90" name="Rectangle: Rounded Corners 89">
            <a:extLst>
              <a:ext uri="{FF2B5EF4-FFF2-40B4-BE49-F238E27FC236}">
                <a16:creationId xmlns:a16="http://schemas.microsoft.com/office/drawing/2014/main" id="{F8391D6E-8C82-35EC-D5A9-944384304A9A}"/>
              </a:ext>
            </a:extLst>
          </p:cNvPr>
          <p:cNvSpPr/>
          <p:nvPr/>
        </p:nvSpPr>
        <p:spPr>
          <a:xfrm>
            <a:off x="654424" y="1142258"/>
            <a:ext cx="1990337" cy="980446"/>
          </a:xfrm>
          <a:prstGeom prst="roundRect">
            <a:avLst/>
          </a:prstGeom>
          <a:solidFill>
            <a:srgbClr val="F8CBAD"/>
          </a:solidFill>
          <a:ln w="12700" cap="flat" cmpd="sng" algn="ctr">
            <a:noFill/>
            <a:prstDash val="sysDot"/>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rPr>
              <a:t>Unlikely</a:t>
            </a:r>
            <a:r>
              <a:rPr lang="en-GB" sz="1400" b="1" kern="0">
                <a:solidFill>
                  <a:schemeClr val="tx1">
                    <a:lumMod val="75000"/>
                    <a:lumOff val="25000"/>
                  </a:schemeClr>
                </a:solidFill>
                <a:latin typeface="Arial" panose="020B0604020202020204" pitchFamily="34" charset="0"/>
                <a:cs typeface="Arial" panose="020B0604020202020204" pitchFamily="34" charset="0"/>
              </a:rPr>
              <a:t> organic growth</a:t>
            </a:r>
            <a:endParaRPr kumimoji="0" lang="en-GB" sz="1400" b="1" u="none" strike="noStrike" kern="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05" name="Rectangle: Rounded Corners 104">
            <a:extLst>
              <a:ext uri="{FF2B5EF4-FFF2-40B4-BE49-F238E27FC236}">
                <a16:creationId xmlns:a16="http://schemas.microsoft.com/office/drawing/2014/main" id="{FD1285B7-6C96-5583-D553-E92B10CC7154}"/>
              </a:ext>
            </a:extLst>
          </p:cNvPr>
          <p:cNvSpPr/>
          <p:nvPr/>
        </p:nvSpPr>
        <p:spPr>
          <a:xfrm>
            <a:off x="2800350" y="1126836"/>
            <a:ext cx="8351124" cy="980446"/>
          </a:xfrm>
          <a:prstGeom prst="roundRect">
            <a:avLst>
              <a:gd name="adj" fmla="val 12166"/>
            </a:avLst>
          </a:prstGeom>
          <a:noFill/>
          <a:ln w="12700" cap="flat" cmpd="sng" algn="ctr">
            <a:solidFill>
              <a:srgbClr val="BD281E"/>
            </a:solidFill>
            <a:prstDash val="sysDot"/>
          </a:ln>
          <a:effectLst/>
        </p:spPr>
        <p:txBody>
          <a:bodyPr rtlCol="0" anchor="ctr"/>
          <a:lstStyle/>
          <a:p>
            <a:pPr algn="just">
              <a:lnSpc>
                <a:spcPct val="150000"/>
              </a:lnSpc>
            </a:pPr>
            <a:r>
              <a:rPr lang="en-GB" sz="1200">
                <a:solidFill>
                  <a:schemeClr val="tx1">
                    <a:lumMod val="75000"/>
                    <a:lumOff val="25000"/>
                  </a:schemeClr>
                </a:solidFill>
                <a:latin typeface="Arial" panose="020B0604020202020204" pitchFamily="34" charset="0"/>
                <a:cs typeface="Arial" panose="020B0604020202020204" pitchFamily="34" charset="0"/>
              </a:rPr>
              <a:t>Energy efficiency flexibility in its </a:t>
            </a:r>
            <a:r>
              <a:rPr lang="en-GB" sz="1200" b="1">
                <a:solidFill>
                  <a:srgbClr val="BD281E"/>
                </a:solidFill>
                <a:latin typeface="Arial" panose="020B0604020202020204" pitchFamily="34" charset="0"/>
                <a:cs typeface="Arial" panose="020B0604020202020204" pitchFamily="34" charset="0"/>
              </a:rPr>
              <a:t>current form is unlikely to lead to organic uptake</a:t>
            </a:r>
            <a:r>
              <a:rPr lang="en-GB" sz="1200">
                <a:solidFill>
                  <a:srgbClr val="BD281E"/>
                </a:solidFill>
                <a:latin typeface="Arial" panose="020B0604020202020204" pitchFamily="34" charset="0"/>
                <a:cs typeface="Arial" panose="020B0604020202020204" pitchFamily="34" charset="0"/>
              </a:rPr>
              <a:t>,</a:t>
            </a:r>
            <a:r>
              <a:rPr lang="en-GB" sz="1200" b="1">
                <a:solidFill>
                  <a:srgbClr val="BD281E"/>
                </a:solidFill>
                <a:latin typeface="Arial" panose="020B0604020202020204" pitchFamily="34" charset="0"/>
                <a:cs typeface="Arial" panose="020B0604020202020204" pitchFamily="34" charset="0"/>
              </a:rPr>
              <a:t> </a:t>
            </a:r>
            <a:r>
              <a:rPr lang="en-GB" sz="1200">
                <a:solidFill>
                  <a:schemeClr val="tx1">
                    <a:lumMod val="75000"/>
                    <a:lumOff val="25000"/>
                  </a:schemeClr>
                </a:solidFill>
                <a:latin typeface="Arial" panose="020B0604020202020204" pitchFamily="34" charset="0"/>
                <a:cs typeface="Arial" panose="020B0604020202020204" pitchFamily="34" charset="0"/>
              </a:rPr>
              <a:t>by the market, due to limited awareness, insufficient incentive levels and a lack of co-ordination between key stakeholders across the supply chain. </a:t>
            </a:r>
          </a:p>
        </p:txBody>
      </p:sp>
      <p:sp>
        <p:nvSpPr>
          <p:cNvPr id="106" name="Rectangle: Rounded Corners 105">
            <a:extLst>
              <a:ext uri="{FF2B5EF4-FFF2-40B4-BE49-F238E27FC236}">
                <a16:creationId xmlns:a16="http://schemas.microsoft.com/office/drawing/2014/main" id="{AF04DDEE-38DC-9101-CA7B-F46050016DEB}"/>
              </a:ext>
            </a:extLst>
          </p:cNvPr>
          <p:cNvSpPr/>
          <p:nvPr/>
        </p:nvSpPr>
        <p:spPr>
          <a:xfrm>
            <a:off x="654424" y="2254150"/>
            <a:ext cx="1990337" cy="1641153"/>
          </a:xfrm>
          <a:prstGeom prst="roundRect">
            <a:avLst/>
          </a:prstGeom>
          <a:solidFill>
            <a:srgbClr val="F8CBAD"/>
          </a:solidFill>
          <a:ln w="12700" cap="flat" cmpd="sng" algn="ctr">
            <a:noFill/>
            <a:prstDash val="sysDot"/>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rPr>
              <a:t>The importance of local authorities</a:t>
            </a:r>
          </a:p>
        </p:txBody>
      </p:sp>
      <p:sp>
        <p:nvSpPr>
          <p:cNvPr id="107" name="Rectangle: Rounded Corners 106">
            <a:extLst>
              <a:ext uri="{FF2B5EF4-FFF2-40B4-BE49-F238E27FC236}">
                <a16:creationId xmlns:a16="http://schemas.microsoft.com/office/drawing/2014/main" id="{179B8CFA-CDE7-E516-B214-60AA13833CB9}"/>
              </a:ext>
            </a:extLst>
          </p:cNvPr>
          <p:cNvSpPr/>
          <p:nvPr/>
        </p:nvSpPr>
        <p:spPr>
          <a:xfrm>
            <a:off x="2800350" y="2206505"/>
            <a:ext cx="8351124" cy="1688799"/>
          </a:xfrm>
          <a:prstGeom prst="roundRect">
            <a:avLst>
              <a:gd name="adj" fmla="val 12166"/>
            </a:avLst>
          </a:prstGeom>
          <a:noFill/>
          <a:ln w="12700" cap="flat" cmpd="sng" algn="ctr">
            <a:solidFill>
              <a:srgbClr val="BD281E"/>
            </a:solidFill>
            <a:prstDash val="sysDot"/>
          </a:ln>
          <a:effectLst/>
        </p:spPr>
        <p:txBody>
          <a:bodyPr rtlCol="0" anchor="ctr"/>
          <a:lstStyle/>
          <a:p>
            <a:pPr algn="just">
              <a:lnSpc>
                <a:spcPct val="150000"/>
              </a:lnSpc>
            </a:pPr>
            <a:r>
              <a:rPr lang="en-GB" sz="1200">
                <a:solidFill>
                  <a:schemeClr val="tx1">
                    <a:lumMod val="75000"/>
                    <a:lumOff val="25000"/>
                  </a:schemeClr>
                </a:solidFill>
                <a:latin typeface="Arial" panose="020B0604020202020204" pitchFamily="34" charset="0"/>
                <a:cs typeface="Arial" panose="020B0604020202020204" pitchFamily="34" charset="0"/>
              </a:rPr>
              <a:t>In the Flex Direct Partnership Ecosystem, </a:t>
            </a:r>
            <a:r>
              <a:rPr lang="en-GB" sz="1200" b="1">
                <a:solidFill>
                  <a:srgbClr val="BD281E"/>
                </a:solidFill>
                <a:latin typeface="Arial" panose="020B0604020202020204" pitchFamily="34" charset="0"/>
                <a:cs typeface="Arial" panose="020B0604020202020204" pitchFamily="34" charset="0"/>
              </a:rPr>
              <a:t>Local Authorities </a:t>
            </a:r>
            <a:r>
              <a:rPr lang="en-GB" sz="1200">
                <a:solidFill>
                  <a:schemeClr val="tx1">
                    <a:lumMod val="75000"/>
                    <a:lumOff val="25000"/>
                  </a:schemeClr>
                </a:solidFill>
                <a:latin typeface="Arial" panose="020B0604020202020204" pitchFamily="34" charset="0"/>
                <a:cs typeface="Arial" panose="020B0604020202020204" pitchFamily="34" charset="0"/>
              </a:rPr>
              <a:t>(with or without Flexibility Aggregators) will play a </a:t>
            </a:r>
            <a:r>
              <a:rPr lang="en-GB" sz="1200" b="1">
                <a:solidFill>
                  <a:srgbClr val="BD281E"/>
                </a:solidFill>
                <a:latin typeface="Arial" panose="020B0604020202020204" pitchFamily="34" charset="0"/>
                <a:cs typeface="Arial" panose="020B0604020202020204" pitchFamily="34" charset="0"/>
              </a:rPr>
              <a:t>crucial role </a:t>
            </a:r>
            <a:r>
              <a:rPr lang="en-GB" sz="1200">
                <a:solidFill>
                  <a:schemeClr val="tx1">
                    <a:lumMod val="75000"/>
                    <a:lumOff val="25000"/>
                  </a:schemeClr>
                </a:solidFill>
                <a:latin typeface="Arial" panose="020B0604020202020204" pitchFamily="34" charset="0"/>
                <a:cs typeface="Arial" panose="020B0604020202020204" pitchFamily="34" charset="0"/>
              </a:rPr>
              <a:t>in delivering energy efficiency flexibility, by leveraging </a:t>
            </a:r>
            <a:r>
              <a:rPr lang="en-GB" sz="1200" b="1">
                <a:solidFill>
                  <a:srgbClr val="BD281E"/>
                </a:solidFill>
                <a:latin typeface="Arial" panose="020B0604020202020204" pitchFamily="34" charset="0"/>
                <a:cs typeface="Arial" panose="020B0604020202020204" pitchFamily="34" charset="0"/>
              </a:rPr>
              <a:t>substantial government subsidies </a:t>
            </a:r>
            <a:r>
              <a:rPr lang="en-GB" sz="1200">
                <a:solidFill>
                  <a:schemeClr val="tx1">
                    <a:lumMod val="75000"/>
                    <a:lumOff val="25000"/>
                  </a:schemeClr>
                </a:solidFill>
                <a:latin typeface="Arial" panose="020B0604020202020204" pitchFamily="34" charset="0"/>
                <a:cs typeface="Arial" panose="020B0604020202020204" pitchFamily="34" charset="0"/>
              </a:rPr>
              <a:t>for retrofits. Findings from Work Package 1 and  2 indicate Local Authorities’ clear interest in participation but highlight the need to </a:t>
            </a:r>
            <a:r>
              <a:rPr lang="en-GB" sz="1200" b="1">
                <a:solidFill>
                  <a:srgbClr val="BD281E"/>
                </a:solidFill>
                <a:latin typeface="Arial" panose="020B0604020202020204" pitchFamily="34" charset="0"/>
                <a:cs typeface="Arial" panose="020B0604020202020204" pitchFamily="34" charset="0"/>
              </a:rPr>
              <a:t>reassess current commercial arrangements </a:t>
            </a:r>
            <a:r>
              <a:rPr lang="en-GB" sz="1200">
                <a:solidFill>
                  <a:schemeClr val="tx1">
                    <a:lumMod val="75000"/>
                    <a:lumOff val="25000"/>
                  </a:schemeClr>
                </a:solidFill>
                <a:latin typeface="Arial" panose="020B0604020202020204" pitchFamily="34" charset="0"/>
                <a:cs typeface="Arial" panose="020B0604020202020204" pitchFamily="34" charset="0"/>
              </a:rPr>
              <a:t>to address concerns and enhance commercial viability.</a:t>
            </a:r>
          </a:p>
        </p:txBody>
      </p:sp>
      <p:sp>
        <p:nvSpPr>
          <p:cNvPr id="110" name="Rectangle: Rounded Corners 109">
            <a:extLst>
              <a:ext uri="{FF2B5EF4-FFF2-40B4-BE49-F238E27FC236}">
                <a16:creationId xmlns:a16="http://schemas.microsoft.com/office/drawing/2014/main" id="{B55B819C-D8E5-ED56-E3A2-664EB3B743D9}"/>
              </a:ext>
            </a:extLst>
          </p:cNvPr>
          <p:cNvSpPr/>
          <p:nvPr/>
        </p:nvSpPr>
        <p:spPr>
          <a:xfrm>
            <a:off x="654424" y="3994526"/>
            <a:ext cx="1990337" cy="1130791"/>
          </a:xfrm>
          <a:prstGeom prst="roundRect">
            <a:avLst/>
          </a:prstGeom>
          <a:solidFill>
            <a:srgbClr val="F8CBAD"/>
          </a:solidFill>
          <a:ln w="12700" cap="flat" cmpd="sng" algn="ctr">
            <a:noFill/>
            <a:prstDash val="sysDot"/>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rPr>
              <a:t>Presently unfeasible arrangements</a:t>
            </a:r>
          </a:p>
        </p:txBody>
      </p:sp>
      <p:sp>
        <p:nvSpPr>
          <p:cNvPr id="111" name="Rectangle: Rounded Corners 110">
            <a:extLst>
              <a:ext uri="{FF2B5EF4-FFF2-40B4-BE49-F238E27FC236}">
                <a16:creationId xmlns:a16="http://schemas.microsoft.com/office/drawing/2014/main" id="{E93C1972-111D-975C-5CED-877434D0DD78}"/>
              </a:ext>
            </a:extLst>
          </p:cNvPr>
          <p:cNvSpPr/>
          <p:nvPr/>
        </p:nvSpPr>
        <p:spPr>
          <a:xfrm>
            <a:off x="2800350" y="3994527"/>
            <a:ext cx="8351124" cy="1130791"/>
          </a:xfrm>
          <a:prstGeom prst="roundRect">
            <a:avLst>
              <a:gd name="adj" fmla="val 12166"/>
            </a:avLst>
          </a:prstGeom>
          <a:noFill/>
          <a:ln w="12700" cap="flat" cmpd="sng" algn="ctr">
            <a:solidFill>
              <a:srgbClr val="BD281E"/>
            </a:solidFill>
            <a:prstDash val="sysDot"/>
          </a:ln>
          <a:effectLst/>
        </p:spPr>
        <p:txBody>
          <a:bodyPr rtlCol="0" anchor="ctr"/>
          <a:lstStyle/>
          <a:p>
            <a:pPr algn="just">
              <a:lnSpc>
                <a:spcPct val="150000"/>
              </a:lnSpc>
            </a:pPr>
            <a:r>
              <a:rPr lang="en-GB" sz="1200">
                <a:solidFill>
                  <a:schemeClr val="tx1">
                    <a:lumMod val="75000"/>
                    <a:lumOff val="25000"/>
                  </a:schemeClr>
                </a:solidFill>
                <a:latin typeface="Arial" panose="020B0604020202020204" pitchFamily="34" charset="0"/>
                <a:cs typeface="Arial" panose="020B0604020202020204" pitchFamily="34" charset="0"/>
              </a:rPr>
              <a:t>Considering present Sustain service fees and contract durations, the </a:t>
            </a:r>
            <a:r>
              <a:rPr lang="en-GB" sz="1200" b="1">
                <a:solidFill>
                  <a:srgbClr val="BD281E"/>
                </a:solidFill>
                <a:latin typeface="Arial" panose="020B0604020202020204" pitchFamily="34" charset="0"/>
                <a:cs typeface="Arial" panose="020B0604020202020204" pitchFamily="34" charset="0"/>
              </a:rPr>
              <a:t>resourcing costs </a:t>
            </a:r>
            <a:r>
              <a:rPr lang="en-GB" sz="1200">
                <a:solidFill>
                  <a:schemeClr val="tx1">
                    <a:lumMod val="75000"/>
                    <a:lumOff val="25000"/>
                  </a:schemeClr>
                </a:solidFill>
                <a:latin typeface="Arial" panose="020B0604020202020204" pitchFamily="34" charset="0"/>
                <a:cs typeface="Arial" panose="020B0604020202020204" pitchFamily="34" charset="0"/>
              </a:rPr>
              <a:t>required for a Local Authority, a relatively inexperienced new market entrant, </a:t>
            </a:r>
            <a:r>
              <a:rPr lang="en-GB" sz="1200" b="1">
                <a:solidFill>
                  <a:srgbClr val="BD281E"/>
                </a:solidFill>
                <a:latin typeface="Arial" panose="020B0604020202020204" pitchFamily="34" charset="0"/>
                <a:cs typeface="Arial" panose="020B0604020202020204" pitchFamily="34" charset="0"/>
              </a:rPr>
              <a:t>presently outweigh the revenue </a:t>
            </a:r>
            <a:r>
              <a:rPr lang="en-GB" sz="1200">
                <a:solidFill>
                  <a:schemeClr val="tx1">
                    <a:lumMod val="75000"/>
                    <a:lumOff val="25000"/>
                  </a:schemeClr>
                </a:solidFill>
                <a:latin typeface="Arial" panose="020B0604020202020204" pitchFamily="34" charset="0"/>
                <a:cs typeface="Arial" panose="020B0604020202020204" pitchFamily="34" charset="0"/>
              </a:rPr>
              <a:t>earnt by meeting the contract terms and providing agreed volumes of peak demand reduction to the DSO directly. </a:t>
            </a:r>
          </a:p>
        </p:txBody>
      </p:sp>
      <p:sp>
        <p:nvSpPr>
          <p:cNvPr id="112" name="Rectangle: Rounded Corners 111">
            <a:extLst>
              <a:ext uri="{FF2B5EF4-FFF2-40B4-BE49-F238E27FC236}">
                <a16:creationId xmlns:a16="http://schemas.microsoft.com/office/drawing/2014/main" id="{86B919EB-87B4-7E5A-8DDD-E6D2DCD11287}"/>
              </a:ext>
            </a:extLst>
          </p:cNvPr>
          <p:cNvSpPr/>
          <p:nvPr/>
        </p:nvSpPr>
        <p:spPr>
          <a:xfrm>
            <a:off x="654424" y="5224540"/>
            <a:ext cx="1990337" cy="1014894"/>
          </a:xfrm>
          <a:prstGeom prst="roundRect">
            <a:avLst/>
          </a:prstGeom>
          <a:solidFill>
            <a:srgbClr val="F8CBAD"/>
          </a:solidFill>
          <a:ln w="12700" cap="flat" cmpd="sng" algn="ctr">
            <a:noFill/>
            <a:prstDash val="sysDot"/>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rPr>
              <a:t>DSO to take the lead</a:t>
            </a:r>
          </a:p>
        </p:txBody>
      </p:sp>
      <p:sp>
        <p:nvSpPr>
          <p:cNvPr id="113" name="Rectangle: Rounded Corners 112">
            <a:extLst>
              <a:ext uri="{FF2B5EF4-FFF2-40B4-BE49-F238E27FC236}">
                <a16:creationId xmlns:a16="http://schemas.microsoft.com/office/drawing/2014/main" id="{B1D6B6C6-16C1-4F0A-D9A4-6ABE2FEE0DFF}"/>
              </a:ext>
            </a:extLst>
          </p:cNvPr>
          <p:cNvSpPr/>
          <p:nvPr/>
        </p:nvSpPr>
        <p:spPr>
          <a:xfrm>
            <a:off x="2800350" y="5224540"/>
            <a:ext cx="8351124" cy="1014895"/>
          </a:xfrm>
          <a:prstGeom prst="roundRect">
            <a:avLst>
              <a:gd name="adj" fmla="val 12166"/>
            </a:avLst>
          </a:prstGeom>
          <a:noFill/>
          <a:ln w="12700" cap="flat" cmpd="sng" algn="ctr">
            <a:solidFill>
              <a:srgbClr val="BD281E"/>
            </a:solidFill>
            <a:prstDash val="sysDot"/>
          </a:ln>
          <a:effectLst/>
        </p:spPr>
        <p:txBody>
          <a:bodyPr rtlCol="0" anchor="ctr"/>
          <a:lstStyle/>
          <a:p>
            <a:pPr algn="just">
              <a:lnSpc>
                <a:spcPct val="150000"/>
              </a:lnSpc>
            </a:pPr>
            <a:r>
              <a:rPr lang="en-GB" sz="1200">
                <a:solidFill>
                  <a:schemeClr val="tx1">
                    <a:lumMod val="75000"/>
                    <a:lumOff val="25000"/>
                  </a:schemeClr>
                </a:solidFill>
                <a:latin typeface="Arial" panose="020B0604020202020204" pitchFamily="34" charset="0"/>
                <a:cs typeface="Arial" panose="020B0604020202020204" pitchFamily="34" charset="0"/>
              </a:rPr>
              <a:t>If current commercial arrangements for energy efficiency sustain flexibility remain unchanged, the </a:t>
            </a:r>
            <a:r>
              <a:rPr lang="en-GB" sz="1200" b="1">
                <a:solidFill>
                  <a:srgbClr val="BD281E"/>
                </a:solidFill>
                <a:latin typeface="Arial" panose="020B0604020202020204" pitchFamily="34" charset="0"/>
                <a:cs typeface="Arial" panose="020B0604020202020204" pitchFamily="34" charset="0"/>
              </a:rPr>
              <a:t>DSO would need to take the lead, </a:t>
            </a:r>
            <a:r>
              <a:rPr lang="en-GB" sz="1200">
                <a:solidFill>
                  <a:schemeClr val="tx1">
                    <a:lumMod val="75000"/>
                    <a:lumOff val="25000"/>
                  </a:schemeClr>
                </a:solidFill>
                <a:latin typeface="Arial" panose="020B0604020202020204" pitchFamily="34" charset="0"/>
                <a:cs typeface="Arial" panose="020B0604020202020204" pitchFamily="34" charset="0"/>
              </a:rPr>
              <a:t>providing knowledge sharing and upskilling support to supply chain stakeholders to enable direct participation in flexibility markets.</a:t>
            </a:r>
          </a:p>
        </p:txBody>
      </p:sp>
      <p:pic>
        <p:nvPicPr>
          <p:cNvPr id="4" name="Picture 3" descr="Sia Partners Introduces SiaGPT | Business Wire">
            <a:extLst>
              <a:ext uri="{FF2B5EF4-FFF2-40B4-BE49-F238E27FC236}">
                <a16:creationId xmlns:a16="http://schemas.microsoft.com/office/drawing/2014/main" id="{8C5317A7-4E7D-8A92-CC4A-FE69DE2401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6537" y="147757"/>
            <a:ext cx="1114227" cy="129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5984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GB"/>
              <a:t>Contents</a:t>
            </a:r>
          </a:p>
        </p:txBody>
      </p:sp>
      <p:graphicFrame>
        <p:nvGraphicFramePr>
          <p:cNvPr id="8" name="Table 7"/>
          <p:cNvGraphicFramePr>
            <a:graphicFrameLocks noGrp="1"/>
          </p:cNvGraphicFramePr>
          <p:nvPr>
            <p:extLst>
              <p:ext uri="{D42A27DB-BD31-4B8C-83A1-F6EECF244321}">
                <p14:modId xmlns:p14="http://schemas.microsoft.com/office/powerpoint/2010/main" val="3281931180"/>
              </p:ext>
            </p:extLst>
          </p:nvPr>
        </p:nvGraphicFramePr>
        <p:xfrm>
          <a:off x="2986205" y="1251883"/>
          <a:ext cx="6219590" cy="4701930"/>
        </p:xfrm>
        <a:graphic>
          <a:graphicData uri="http://schemas.openxmlformats.org/drawingml/2006/table">
            <a:tbl>
              <a:tblPr firstRow="1" bandRow="1"/>
              <a:tblGrid>
                <a:gridCol w="6219590">
                  <a:extLst>
                    <a:ext uri="{9D8B030D-6E8A-4147-A177-3AD203B41FA5}">
                      <a16:colId xmlns:a16="http://schemas.microsoft.com/office/drawing/2014/main" val="1882859706"/>
                    </a:ext>
                  </a:extLst>
                </a:gridCol>
              </a:tblGrid>
              <a:tr h="940386">
                <a:tc>
                  <a:txBody>
                    <a:bodyPr/>
                    <a:lstStyle/>
                    <a:p>
                      <a:pPr marL="285750" indent="-285750" algn="l" defTabSz="914400" rtl="0" eaLnBrk="1" latinLnBrk="0" hangingPunct="1">
                        <a:buFont typeface="Arial" panose="020B0604020202020204" pitchFamily="34" charset="0"/>
                        <a:buChar char="•"/>
                      </a:pPr>
                      <a:r>
                        <a:rPr lang="en-GB" sz="2400" b="0" kern="1200">
                          <a:solidFill>
                            <a:srgbClr val="9C1420"/>
                          </a:solidFill>
                          <a:latin typeface="Arial" panose="020B0604020202020204" pitchFamily="34" charset="0"/>
                          <a:ea typeface="+mn-ea"/>
                          <a:cs typeface="Arial" panose="020B0604020202020204" pitchFamily="34" charset="0"/>
                        </a:rPr>
                        <a:t>Project Overview</a:t>
                      </a:r>
                    </a:p>
                  </a:txBody>
                  <a:tcPr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1507495"/>
                  </a:ext>
                </a:extLst>
              </a:tr>
              <a:tr h="940386">
                <a:tc>
                  <a:txBody>
                    <a:bodyPr/>
                    <a:lstStyle/>
                    <a:p>
                      <a:pPr marL="285750" indent="-285750" algn="l" defTabSz="914400" rtl="0" eaLnBrk="1" latinLnBrk="0" hangingPunct="1">
                        <a:buFont typeface="Arial" panose="020B0604020202020204" pitchFamily="34" charset="0"/>
                        <a:buChar char="•"/>
                      </a:pPr>
                      <a:r>
                        <a:rPr lang="en-GB" sz="2400" b="0" kern="1200">
                          <a:solidFill>
                            <a:srgbClr val="9C1420"/>
                          </a:solidFill>
                          <a:latin typeface="Arial" panose="020B0604020202020204" pitchFamily="34" charset="0"/>
                          <a:ea typeface="+mn-ea"/>
                          <a:cs typeface="Arial" panose="020B0604020202020204" pitchFamily="34" charset="0"/>
                        </a:rPr>
                        <a:t>Project Outputs and Lessons Learned</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3750691"/>
                  </a:ext>
                </a:extLst>
              </a:tr>
              <a:tr h="940386">
                <a:tc>
                  <a:txBody>
                    <a:bodyPr/>
                    <a:lstStyle/>
                    <a:p>
                      <a:pPr marL="285750" indent="-285750" algn="l" defTabSz="914400" rtl="0" eaLnBrk="1" latinLnBrk="0" hangingPunct="1">
                        <a:buFont typeface="Arial" panose="020B0604020202020204" pitchFamily="34" charset="0"/>
                        <a:buChar char="•"/>
                      </a:pPr>
                      <a:r>
                        <a:rPr lang="en-GB" sz="2400" b="0" kern="1200">
                          <a:solidFill>
                            <a:srgbClr val="9C1420"/>
                          </a:solidFill>
                          <a:latin typeface="Arial" panose="020B0604020202020204" pitchFamily="34" charset="0"/>
                          <a:ea typeface="+mn-ea"/>
                          <a:cs typeface="Arial" panose="020B0604020202020204" pitchFamily="34" charset="0"/>
                        </a:rPr>
                        <a:t>Project Plan Update</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2480453"/>
                  </a:ext>
                </a:extLst>
              </a:tr>
              <a:tr h="940386">
                <a:tc>
                  <a:txBody>
                    <a:bodyPr/>
                    <a:lstStyle/>
                    <a:p>
                      <a:pPr marL="285750" indent="-285750" algn="l" defTabSz="914400" rtl="0" eaLnBrk="1" latinLnBrk="0" hangingPunct="1">
                        <a:buFont typeface="Arial" panose="020B0604020202020204" pitchFamily="34" charset="0"/>
                        <a:buChar char="•"/>
                      </a:pPr>
                      <a:r>
                        <a:rPr lang="en-GB" sz="2400" b="0" kern="1200">
                          <a:solidFill>
                            <a:srgbClr val="9C1420"/>
                          </a:solidFill>
                          <a:latin typeface="Arial" panose="020B0604020202020204" pitchFamily="34" charset="0"/>
                          <a:ea typeface="+mn-ea"/>
                          <a:cs typeface="Arial" panose="020B0604020202020204" pitchFamily="34" charset="0"/>
                        </a:rPr>
                        <a:t>Project Specific Conditions</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8922415"/>
                  </a:ext>
                </a:extLst>
              </a:tr>
              <a:tr h="940386">
                <a:tc>
                  <a:txBody>
                    <a:bodyPr/>
                    <a:lstStyle/>
                    <a:p>
                      <a:pPr marL="285750" indent="-285750" algn="l" defTabSz="914400" rtl="0" eaLnBrk="1" latinLnBrk="0" hangingPunct="1">
                        <a:buFont typeface="Arial" panose="020B0604020202020204" pitchFamily="34" charset="0"/>
                        <a:buChar char="•"/>
                      </a:pPr>
                      <a:r>
                        <a:rPr lang="en-GB" sz="2400" b="0" kern="1200">
                          <a:solidFill>
                            <a:srgbClr val="9C1420"/>
                          </a:solidFill>
                          <a:latin typeface="Arial" panose="020B0604020202020204" pitchFamily="34" charset="0"/>
                          <a:ea typeface="+mn-ea"/>
                          <a:cs typeface="Arial" panose="020B0604020202020204" pitchFamily="34" charset="0"/>
                        </a:rPr>
                        <a:t>Plan for Alpha Phase</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5490935"/>
                  </a:ext>
                </a:extLst>
              </a:tr>
            </a:tbl>
          </a:graphicData>
        </a:graphic>
      </p:graphicFrame>
    </p:spTree>
    <p:extLst>
      <p:ext uri="{BB962C8B-B14F-4D97-AF65-F5344CB8AC3E}">
        <p14:creationId xmlns:p14="http://schemas.microsoft.com/office/powerpoint/2010/main" val="180287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F28D4-F7C5-5F83-4709-A11774C20E1C}"/>
              </a:ext>
            </a:extLst>
          </p:cNvPr>
          <p:cNvSpPr>
            <a:spLocks noGrp="1"/>
          </p:cNvSpPr>
          <p:nvPr>
            <p:ph type="title"/>
          </p:nvPr>
        </p:nvSpPr>
        <p:spPr>
          <a:xfrm>
            <a:off x="465371" y="527884"/>
            <a:ext cx="11397351" cy="511175"/>
          </a:xfrm>
        </p:spPr>
        <p:txBody>
          <a:bodyPr>
            <a:normAutofit fontScale="90000"/>
          </a:bodyPr>
          <a:lstStyle/>
          <a:p>
            <a:r>
              <a:rPr lang="en-GB" dirty="0"/>
              <a:t>Work Package 4: Assess the benefits of scaling up Flex Direct</a:t>
            </a:r>
          </a:p>
        </p:txBody>
      </p:sp>
      <p:sp>
        <p:nvSpPr>
          <p:cNvPr id="7" name="Text Placeholder 6">
            <a:extLst>
              <a:ext uri="{FF2B5EF4-FFF2-40B4-BE49-F238E27FC236}">
                <a16:creationId xmlns:a16="http://schemas.microsoft.com/office/drawing/2014/main" id="{1C7C4275-A96B-6539-DF2E-0065AAED34C8}"/>
              </a:ext>
            </a:extLst>
          </p:cNvPr>
          <p:cNvSpPr>
            <a:spLocks noGrp="1"/>
          </p:cNvSpPr>
          <p:nvPr>
            <p:ph type="body" sz="quarter" idx="23"/>
          </p:nvPr>
        </p:nvSpPr>
        <p:spPr>
          <a:xfrm>
            <a:off x="322898" y="1019694"/>
            <a:ext cx="11539825" cy="3657600"/>
          </a:xfrm>
        </p:spPr>
        <p:txBody>
          <a:bodyPr vert="horz" lIns="91440" tIns="45720" rIns="91440" bIns="45720" rtlCol="0" anchor="t">
            <a:normAutofit/>
          </a:bodyPr>
          <a:lstStyle/>
          <a:p>
            <a:pPr marL="0" indent="0">
              <a:buNone/>
            </a:pPr>
            <a:r>
              <a:rPr lang="en-US" sz="1600" dirty="0">
                <a:solidFill>
                  <a:srgbClr val="003E74"/>
                </a:solidFill>
              </a:rPr>
              <a:t>Producing a Cost Benefit Analysis (CBA) considering potential network, consumer, and environmental benefits of scaling the Flex Direct approach across UK Power Networks and Great Britain</a:t>
            </a:r>
            <a:endParaRPr lang="en-US" dirty="0"/>
          </a:p>
        </p:txBody>
      </p:sp>
      <p:sp>
        <p:nvSpPr>
          <p:cNvPr id="11" name="TextBox 10">
            <a:extLst>
              <a:ext uri="{FF2B5EF4-FFF2-40B4-BE49-F238E27FC236}">
                <a16:creationId xmlns:a16="http://schemas.microsoft.com/office/drawing/2014/main" id="{714CE7BB-5D3D-72B3-BF78-15D3EAA747A9}"/>
              </a:ext>
            </a:extLst>
          </p:cNvPr>
          <p:cNvSpPr txBox="1"/>
          <p:nvPr/>
        </p:nvSpPr>
        <p:spPr>
          <a:xfrm>
            <a:off x="1197315" y="2218114"/>
            <a:ext cx="3042561"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64795"/>
            <a:r>
              <a:rPr lang="en-GB" sz="1600">
                <a:solidFill>
                  <a:srgbClr val="003E74"/>
                </a:solidFill>
                <a:latin typeface="Arial" panose="020B0604020202020204" pitchFamily="34" charset="0"/>
                <a:cs typeface="Arial" panose="020B0604020202020204" pitchFamily="34" charset="0"/>
              </a:rPr>
              <a:t>Identify and quantify the whole energy system benefits of social houses’ energy efficiency improvement and participation in flexibility services using IWES </a:t>
            </a:r>
          </a:p>
        </p:txBody>
      </p:sp>
      <p:sp>
        <p:nvSpPr>
          <p:cNvPr id="13" name="TextBox 12">
            <a:extLst>
              <a:ext uri="{FF2B5EF4-FFF2-40B4-BE49-F238E27FC236}">
                <a16:creationId xmlns:a16="http://schemas.microsoft.com/office/drawing/2014/main" id="{696A405B-727F-4165-E395-B1304825BD2A}"/>
              </a:ext>
            </a:extLst>
          </p:cNvPr>
          <p:cNvSpPr txBox="1"/>
          <p:nvPr/>
        </p:nvSpPr>
        <p:spPr>
          <a:xfrm rot="16200000">
            <a:off x="-901564" y="3602297"/>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panose="020B0604020202020204" pitchFamily="34" charset="0"/>
                <a:ea typeface="Calibri"/>
                <a:cs typeface="Arial" panose="020B0604020202020204" pitchFamily="34" charset="0"/>
              </a:rPr>
              <a:t>Future Energy Scenario</a:t>
            </a:r>
            <a:endParaRPr lang="en-US">
              <a:latin typeface="Arial" panose="020B0604020202020204" pitchFamily="34" charset="0"/>
              <a:cs typeface="Arial" panose="020B0604020202020204" pitchFamily="34" charset="0"/>
            </a:endParaRPr>
          </a:p>
        </p:txBody>
      </p:sp>
      <p:sp>
        <p:nvSpPr>
          <p:cNvPr id="20" name="Arrow: Right 19">
            <a:extLst>
              <a:ext uri="{FF2B5EF4-FFF2-40B4-BE49-F238E27FC236}">
                <a16:creationId xmlns:a16="http://schemas.microsoft.com/office/drawing/2014/main" id="{658A11E8-2D48-BAA8-EEF3-646FF8845330}"/>
              </a:ext>
            </a:extLst>
          </p:cNvPr>
          <p:cNvSpPr/>
          <p:nvPr/>
        </p:nvSpPr>
        <p:spPr>
          <a:xfrm>
            <a:off x="816078" y="3474836"/>
            <a:ext cx="387927" cy="62345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Arrow: Right 20">
            <a:extLst>
              <a:ext uri="{FF2B5EF4-FFF2-40B4-BE49-F238E27FC236}">
                <a16:creationId xmlns:a16="http://schemas.microsoft.com/office/drawing/2014/main" id="{B1395272-7846-4A4C-499A-1FAF9BB054B4}"/>
              </a:ext>
            </a:extLst>
          </p:cNvPr>
          <p:cNvSpPr/>
          <p:nvPr/>
        </p:nvSpPr>
        <p:spPr>
          <a:xfrm>
            <a:off x="11481563" y="3429000"/>
            <a:ext cx="387927" cy="62345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3" name="Picture 2" descr="A diagram of a gas network&#10;&#10;Description automatically generated">
            <a:extLst>
              <a:ext uri="{FF2B5EF4-FFF2-40B4-BE49-F238E27FC236}">
                <a16:creationId xmlns:a16="http://schemas.microsoft.com/office/drawing/2014/main" id="{1BBC11FE-F32B-971D-7C89-8DBA05D096DD}"/>
              </a:ext>
            </a:extLst>
          </p:cNvPr>
          <p:cNvPicPr>
            <a:picLocks noChangeAspect="1"/>
          </p:cNvPicPr>
          <p:nvPr/>
        </p:nvPicPr>
        <p:blipFill>
          <a:blip r:embed="rId2"/>
          <a:stretch>
            <a:fillRect/>
          </a:stretch>
        </p:blipFill>
        <p:spPr>
          <a:xfrm>
            <a:off x="4418734" y="2197244"/>
            <a:ext cx="6610350" cy="4126056"/>
          </a:xfrm>
          <a:prstGeom prst="rect">
            <a:avLst/>
          </a:prstGeom>
        </p:spPr>
      </p:pic>
      <p:sp>
        <p:nvSpPr>
          <p:cNvPr id="4" name="TextBox 3">
            <a:extLst>
              <a:ext uri="{FF2B5EF4-FFF2-40B4-BE49-F238E27FC236}">
                <a16:creationId xmlns:a16="http://schemas.microsoft.com/office/drawing/2014/main" id="{87BB855A-96B5-A016-D513-893E7EDED6D1}"/>
              </a:ext>
            </a:extLst>
          </p:cNvPr>
          <p:cNvSpPr txBox="1"/>
          <p:nvPr/>
        </p:nvSpPr>
        <p:spPr>
          <a:xfrm>
            <a:off x="4613564" y="1717963"/>
            <a:ext cx="725978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40404"/>
                </a:solidFill>
                <a:latin typeface="Arial" panose="020B0604020202020204" pitchFamily="34" charset="0"/>
                <a:cs typeface="Arial" panose="020B0604020202020204" pitchFamily="34" charset="0"/>
              </a:rPr>
              <a:t>IWES</a:t>
            </a:r>
            <a:r>
              <a:rPr lang="en-US" sz="2000">
                <a:solidFill>
                  <a:srgbClr val="040404"/>
                </a:solidFill>
                <a:latin typeface="Arial" panose="020B0604020202020204" pitchFamily="34" charset="0"/>
                <a:cs typeface="Arial" panose="020B0604020202020204" pitchFamily="34" charset="0"/>
              </a:rPr>
              <a:t> </a:t>
            </a:r>
            <a:r>
              <a:rPr lang="en-GB" sz="2000">
                <a:solidFill>
                  <a:srgbClr val="040404"/>
                </a:solidFill>
                <a:latin typeface="Arial" panose="020B0604020202020204" pitchFamily="34" charset="0"/>
                <a:cs typeface="Arial" panose="020B0604020202020204" pitchFamily="34" charset="0"/>
              </a:rPr>
              <a:t>–</a:t>
            </a:r>
            <a:r>
              <a:rPr lang="en-US" sz="2000">
                <a:solidFill>
                  <a:srgbClr val="040404"/>
                </a:solidFill>
                <a:latin typeface="Arial" panose="020B0604020202020204" pitchFamily="34" charset="0"/>
                <a:cs typeface="Arial" panose="020B0604020202020204" pitchFamily="34" charset="0"/>
              </a:rPr>
              <a:t> </a:t>
            </a:r>
            <a:r>
              <a:rPr lang="en-US" sz="2000" i="1">
                <a:solidFill>
                  <a:srgbClr val="040404"/>
                </a:solidFill>
                <a:latin typeface="Arial" panose="020B0604020202020204" pitchFamily="34" charset="0"/>
                <a:cs typeface="Arial" panose="020B0604020202020204" pitchFamily="34" charset="0"/>
              </a:rPr>
              <a:t>Integrated Whole-Energy System model</a:t>
            </a:r>
          </a:p>
        </p:txBody>
      </p:sp>
      <p:pic>
        <p:nvPicPr>
          <p:cNvPr id="5" name="Picture 4">
            <a:extLst>
              <a:ext uri="{FF2B5EF4-FFF2-40B4-BE49-F238E27FC236}">
                <a16:creationId xmlns:a16="http://schemas.microsoft.com/office/drawing/2014/main" id="{30C4F09F-BD1C-168F-4AB4-13DBDF414BA0}"/>
              </a:ext>
            </a:extLst>
          </p:cNvPr>
          <p:cNvPicPr>
            <a:picLocks noChangeAspect="1"/>
          </p:cNvPicPr>
          <p:nvPr/>
        </p:nvPicPr>
        <p:blipFill>
          <a:blip r:embed="rId3"/>
          <a:stretch>
            <a:fillRect/>
          </a:stretch>
        </p:blipFill>
        <p:spPr>
          <a:xfrm>
            <a:off x="1286309" y="4498398"/>
            <a:ext cx="2886075" cy="1657350"/>
          </a:xfrm>
          <a:prstGeom prst="rect">
            <a:avLst/>
          </a:prstGeom>
        </p:spPr>
      </p:pic>
    </p:spTree>
    <p:extLst>
      <p:ext uri="{BB962C8B-B14F-4D97-AF65-F5344CB8AC3E}">
        <p14:creationId xmlns:p14="http://schemas.microsoft.com/office/powerpoint/2010/main" val="364480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E02E0-1F02-7024-245B-81741A98C55C}"/>
              </a:ext>
            </a:extLst>
          </p:cNvPr>
          <p:cNvSpPr>
            <a:spLocks noGrp="1"/>
          </p:cNvSpPr>
          <p:nvPr>
            <p:ph type="title"/>
          </p:nvPr>
        </p:nvSpPr>
        <p:spPr>
          <a:xfrm>
            <a:off x="465371" y="527884"/>
            <a:ext cx="11229323" cy="511175"/>
          </a:xfrm>
        </p:spPr>
        <p:txBody>
          <a:bodyPr>
            <a:normAutofit fontScale="90000"/>
          </a:bodyPr>
          <a:lstStyle/>
          <a:p>
            <a:r>
              <a:rPr lang="en-GB" dirty="0"/>
              <a:t>Work Package 4: </a:t>
            </a:r>
            <a:r>
              <a:rPr lang="en-GB" dirty="0">
                <a:latin typeface="Arial"/>
                <a:cs typeface="Arial"/>
              </a:rPr>
              <a:t>Assess the benefits of scaling up Flex Direct</a:t>
            </a:r>
            <a:endParaRPr lang="en-GB" dirty="0"/>
          </a:p>
        </p:txBody>
      </p:sp>
      <p:pic>
        <p:nvPicPr>
          <p:cNvPr id="4" name="Picture 3" descr="A blue text on a black background&#10;&#10;Description automatically generated">
            <a:extLst>
              <a:ext uri="{FF2B5EF4-FFF2-40B4-BE49-F238E27FC236}">
                <a16:creationId xmlns:a16="http://schemas.microsoft.com/office/drawing/2014/main" id="{C89CAFCC-6043-E9E7-1BAE-4140CAA5DD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3915" y="5921233"/>
            <a:ext cx="1636450" cy="594977"/>
          </a:xfrm>
          <a:prstGeom prst="rect">
            <a:avLst/>
          </a:prstGeom>
        </p:spPr>
      </p:pic>
      <p:pic>
        <p:nvPicPr>
          <p:cNvPr id="16" name="Picture 15" descr="A chart of cost and costs&#10;&#10;Description automatically generated">
            <a:extLst>
              <a:ext uri="{FF2B5EF4-FFF2-40B4-BE49-F238E27FC236}">
                <a16:creationId xmlns:a16="http://schemas.microsoft.com/office/drawing/2014/main" id="{0A48FC91-F2A1-30CD-E93F-9B78192A5F13}"/>
              </a:ext>
            </a:extLst>
          </p:cNvPr>
          <p:cNvPicPr>
            <a:picLocks noChangeAspect="1"/>
          </p:cNvPicPr>
          <p:nvPr/>
        </p:nvPicPr>
        <p:blipFill rotWithShape="1">
          <a:blip r:embed="rId3"/>
          <a:srcRect l="1475" t="598" r="3835" b="440"/>
          <a:stretch/>
        </p:blipFill>
        <p:spPr>
          <a:xfrm>
            <a:off x="1642424" y="1374412"/>
            <a:ext cx="5025611" cy="4375535"/>
          </a:xfrm>
          <a:prstGeom prst="rect">
            <a:avLst/>
          </a:prstGeom>
        </p:spPr>
      </p:pic>
      <p:sp>
        <p:nvSpPr>
          <p:cNvPr id="12" name="TextBox 11">
            <a:extLst>
              <a:ext uri="{FF2B5EF4-FFF2-40B4-BE49-F238E27FC236}">
                <a16:creationId xmlns:a16="http://schemas.microsoft.com/office/drawing/2014/main" id="{A79CE17A-3D06-03D3-96EC-93CBDB26D37C}"/>
              </a:ext>
            </a:extLst>
          </p:cNvPr>
          <p:cNvSpPr txBox="1"/>
          <p:nvPr/>
        </p:nvSpPr>
        <p:spPr>
          <a:xfrm>
            <a:off x="1498323" y="1036278"/>
            <a:ext cx="5445760" cy="33086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550" dirty="0">
                <a:solidFill>
                  <a:srgbClr val="003E74"/>
                </a:solidFill>
                <a:latin typeface="Arial"/>
                <a:cs typeface="Arial"/>
              </a:rPr>
              <a:t>Potential savings that can be harnessed through Flex Direct</a:t>
            </a:r>
            <a:endParaRPr lang="en-US" dirty="0"/>
          </a:p>
        </p:txBody>
      </p:sp>
      <p:sp>
        <p:nvSpPr>
          <p:cNvPr id="19" name="TextBox 18">
            <a:extLst>
              <a:ext uri="{FF2B5EF4-FFF2-40B4-BE49-F238E27FC236}">
                <a16:creationId xmlns:a16="http://schemas.microsoft.com/office/drawing/2014/main" id="{1D0DDBA6-2B59-423F-E793-1CACDE3A087F}"/>
              </a:ext>
            </a:extLst>
          </p:cNvPr>
          <p:cNvSpPr txBox="1"/>
          <p:nvPr/>
        </p:nvSpPr>
        <p:spPr>
          <a:xfrm>
            <a:off x="7931331" y="1713375"/>
            <a:ext cx="358648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latin typeface="Arial"/>
              </a:rPr>
              <a:t>Load-Related Expenditure (LRE) and Cost-Benefit Analyses using the Ofgem template</a:t>
            </a:r>
          </a:p>
        </p:txBody>
      </p:sp>
      <p:sp>
        <p:nvSpPr>
          <p:cNvPr id="22" name="Arrow: Right 21">
            <a:extLst>
              <a:ext uri="{FF2B5EF4-FFF2-40B4-BE49-F238E27FC236}">
                <a16:creationId xmlns:a16="http://schemas.microsoft.com/office/drawing/2014/main" id="{5A77360A-4AAE-BCB0-AF64-3C143CDAAB2E}"/>
              </a:ext>
            </a:extLst>
          </p:cNvPr>
          <p:cNvSpPr/>
          <p:nvPr/>
        </p:nvSpPr>
        <p:spPr>
          <a:xfrm>
            <a:off x="7179033" y="3026351"/>
            <a:ext cx="387927" cy="62345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133D6B1D-D266-70B6-F6F8-90961DE76B9A}"/>
              </a:ext>
            </a:extLst>
          </p:cNvPr>
          <p:cNvSpPr txBox="1"/>
          <p:nvPr/>
        </p:nvSpPr>
        <p:spPr>
          <a:xfrm>
            <a:off x="893997" y="5923082"/>
            <a:ext cx="710158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solidFill>
                  <a:srgbClr val="003E74"/>
                </a:solidFill>
                <a:latin typeface="Arial"/>
                <a:cs typeface="Arial"/>
              </a:rPr>
              <a:t>Savings in low-carbon generation investment, distribution network reinforcement cost, electricity operational expenditure, heat storage, and other flexibility technologies .</a:t>
            </a:r>
          </a:p>
        </p:txBody>
      </p:sp>
      <p:graphicFrame>
        <p:nvGraphicFramePr>
          <p:cNvPr id="7" name="Content Placeholder 4">
            <a:extLst>
              <a:ext uri="{FF2B5EF4-FFF2-40B4-BE49-F238E27FC236}">
                <a16:creationId xmlns:a16="http://schemas.microsoft.com/office/drawing/2014/main" id="{D3CFEF8D-396B-53BF-61FF-4E8ABE1B7081}"/>
              </a:ext>
            </a:extLst>
          </p:cNvPr>
          <p:cNvGraphicFramePr>
            <a:graphicFrameLocks/>
          </p:cNvGraphicFramePr>
          <p:nvPr>
            <p:extLst>
              <p:ext uri="{D42A27DB-BD31-4B8C-83A1-F6EECF244321}">
                <p14:modId xmlns:p14="http://schemas.microsoft.com/office/powerpoint/2010/main" val="4046153836"/>
              </p:ext>
            </p:extLst>
          </p:nvPr>
        </p:nvGraphicFramePr>
        <p:xfrm>
          <a:off x="7874000" y="2865120"/>
          <a:ext cx="3703628" cy="1563999"/>
        </p:xfrm>
        <a:graphic>
          <a:graphicData uri="http://schemas.openxmlformats.org/drawingml/2006/table">
            <a:tbl>
              <a:tblPr firstRow="1" bandRow="1">
                <a:tableStyleId>{5C22544A-7EE6-4342-B048-85BDC9FD1C3A}</a:tableStyleId>
              </a:tblPr>
              <a:tblGrid>
                <a:gridCol w="2245202">
                  <a:extLst>
                    <a:ext uri="{9D8B030D-6E8A-4147-A177-3AD203B41FA5}">
                      <a16:colId xmlns:a16="http://schemas.microsoft.com/office/drawing/2014/main" val="4225176216"/>
                    </a:ext>
                  </a:extLst>
                </a:gridCol>
                <a:gridCol w="1458426">
                  <a:extLst>
                    <a:ext uri="{9D8B030D-6E8A-4147-A177-3AD203B41FA5}">
                      <a16:colId xmlns:a16="http://schemas.microsoft.com/office/drawing/2014/main" val="2597258650"/>
                    </a:ext>
                  </a:extLst>
                </a:gridCol>
              </a:tblGrid>
              <a:tr h="536995">
                <a:tc>
                  <a:txBody>
                    <a:bodyPr/>
                    <a:lstStyle/>
                    <a:p>
                      <a:pPr algn="ctr"/>
                      <a:r>
                        <a:rPr lang="en-GB" sz="1600"/>
                        <a:t>Region</a:t>
                      </a:r>
                    </a:p>
                  </a:txBody>
                  <a:tcPr marL="109728" marR="109728" marT="54864" marB="54864" anchor="ctr"/>
                </a:tc>
                <a:tc>
                  <a:txBody>
                    <a:bodyPr/>
                    <a:lstStyle/>
                    <a:p>
                      <a:pPr algn="ctr"/>
                      <a:r>
                        <a:rPr lang="en-GB" sz="1600"/>
                        <a:t>10-year NPV (£m)</a:t>
                      </a:r>
                    </a:p>
                  </a:txBody>
                  <a:tcPr marL="109728" marR="109728" marT="54864" marB="54864" anchor="ctr"/>
                </a:tc>
                <a:extLst>
                  <a:ext uri="{0D108BD9-81ED-4DB2-BD59-A6C34878D82A}">
                    <a16:rowId xmlns:a16="http://schemas.microsoft.com/office/drawing/2014/main" val="447649476"/>
                  </a:ext>
                </a:extLst>
              </a:tr>
              <a:tr h="400306">
                <a:tc>
                  <a:txBody>
                    <a:bodyPr/>
                    <a:lstStyle/>
                    <a:p>
                      <a:r>
                        <a:rPr lang="en-GB" sz="1400" dirty="0"/>
                        <a:t>UK Power Networks</a:t>
                      </a:r>
                    </a:p>
                  </a:txBody>
                  <a:tcPr marL="109728" marR="109728" marT="54864" marB="54864" anchor="ctr"/>
                </a:tc>
                <a:tc>
                  <a:txBody>
                    <a:bodyPr/>
                    <a:lstStyle/>
                    <a:p>
                      <a:pPr algn="ctr"/>
                      <a:r>
                        <a:rPr lang="en-GB" sz="1400" b="1"/>
                        <a:t>110</a:t>
                      </a:r>
                    </a:p>
                  </a:txBody>
                  <a:tcPr marL="109728" marR="109728" marT="54864" marB="54864" anchor="ctr"/>
                </a:tc>
                <a:extLst>
                  <a:ext uri="{0D108BD9-81ED-4DB2-BD59-A6C34878D82A}">
                    <a16:rowId xmlns:a16="http://schemas.microsoft.com/office/drawing/2014/main" val="2040182536"/>
                  </a:ext>
                </a:extLst>
              </a:tr>
              <a:tr h="566285">
                <a:tc>
                  <a:txBody>
                    <a:bodyPr/>
                    <a:lstStyle/>
                    <a:p>
                      <a:r>
                        <a:rPr lang="en-GB" sz="1400" dirty="0"/>
                        <a:t>Great Britain DNOs</a:t>
                      </a:r>
                    </a:p>
                  </a:txBody>
                  <a:tcPr marL="109728" marR="109728" marT="54864" marB="54864" anchor="ctr"/>
                </a:tc>
                <a:tc>
                  <a:txBody>
                    <a:bodyPr/>
                    <a:lstStyle/>
                    <a:p>
                      <a:pPr algn="ctr"/>
                      <a:r>
                        <a:rPr lang="en-GB" sz="1400" b="1" dirty="0"/>
                        <a:t>315</a:t>
                      </a:r>
                    </a:p>
                  </a:txBody>
                  <a:tcPr marL="109728" marR="109728" marT="54864" marB="54864" anchor="ctr"/>
                </a:tc>
                <a:extLst>
                  <a:ext uri="{0D108BD9-81ED-4DB2-BD59-A6C34878D82A}">
                    <a16:rowId xmlns:a16="http://schemas.microsoft.com/office/drawing/2014/main" val="4071588526"/>
                  </a:ext>
                </a:extLst>
              </a:tr>
            </a:tbl>
          </a:graphicData>
        </a:graphic>
      </p:graphicFrame>
      <p:sp>
        <p:nvSpPr>
          <p:cNvPr id="8" name="Arrow: Right 7">
            <a:extLst>
              <a:ext uri="{FF2B5EF4-FFF2-40B4-BE49-F238E27FC236}">
                <a16:creationId xmlns:a16="http://schemas.microsoft.com/office/drawing/2014/main" id="{ACB9CA71-DE6D-AADB-E505-F365B14DEECC}"/>
              </a:ext>
            </a:extLst>
          </p:cNvPr>
          <p:cNvSpPr/>
          <p:nvPr/>
        </p:nvSpPr>
        <p:spPr>
          <a:xfrm>
            <a:off x="695360" y="3026351"/>
            <a:ext cx="387927" cy="62345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08600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A33F6-2854-7742-7DE6-487A8618117E}"/>
              </a:ext>
            </a:extLst>
          </p:cNvPr>
          <p:cNvSpPr>
            <a:spLocks noGrp="1"/>
          </p:cNvSpPr>
          <p:nvPr>
            <p:ph type="title"/>
          </p:nvPr>
        </p:nvSpPr>
        <p:spPr/>
        <p:txBody>
          <a:bodyPr>
            <a:normAutofit fontScale="90000"/>
          </a:bodyPr>
          <a:lstStyle/>
          <a:p>
            <a:r>
              <a:rPr lang="en-GB"/>
              <a:t>Peak Demand Reduction (LRE input)</a:t>
            </a:r>
          </a:p>
        </p:txBody>
      </p:sp>
      <p:sp>
        <p:nvSpPr>
          <p:cNvPr id="3" name="Content Placeholder 2">
            <a:extLst>
              <a:ext uri="{FF2B5EF4-FFF2-40B4-BE49-F238E27FC236}">
                <a16:creationId xmlns:a16="http://schemas.microsoft.com/office/drawing/2014/main" id="{B75A1ECB-D1C9-D3EF-0F8C-6DD0CA283A7D}"/>
              </a:ext>
            </a:extLst>
          </p:cNvPr>
          <p:cNvSpPr>
            <a:spLocks noGrp="1"/>
          </p:cNvSpPr>
          <p:nvPr>
            <p:ph type="body" sz="quarter" idx="23"/>
          </p:nvPr>
        </p:nvSpPr>
        <p:spPr>
          <a:xfrm>
            <a:off x="8963469" y="1041619"/>
            <a:ext cx="3228531" cy="4565353"/>
          </a:xfrm>
        </p:spPr>
        <p:txBody>
          <a:bodyPr>
            <a:normAutofit/>
          </a:bodyPr>
          <a:lstStyle/>
          <a:p>
            <a:pPr marL="0" indent="0">
              <a:buNone/>
            </a:pPr>
            <a:r>
              <a:rPr lang="en-GB" sz="1600" b="1" dirty="0">
                <a:solidFill>
                  <a:schemeClr val="tx1"/>
                </a:solidFill>
              </a:rPr>
              <a:t>Assumptions</a:t>
            </a:r>
          </a:p>
          <a:p>
            <a:r>
              <a:rPr lang="en-GB" sz="1600" dirty="0">
                <a:solidFill>
                  <a:schemeClr val="tx1"/>
                </a:solidFill>
              </a:rPr>
              <a:t>Resistive heating replaced with heat pumps</a:t>
            </a:r>
          </a:p>
          <a:p>
            <a:endParaRPr lang="en-GB" sz="1600" dirty="0">
              <a:solidFill>
                <a:schemeClr val="tx1"/>
              </a:solidFill>
            </a:endParaRPr>
          </a:p>
          <a:p>
            <a:r>
              <a:rPr lang="en-GB" sz="1600" dirty="0">
                <a:solidFill>
                  <a:schemeClr val="tx1"/>
                </a:solidFill>
              </a:rPr>
              <a:t>Three-year network planning horizon</a:t>
            </a:r>
          </a:p>
          <a:p>
            <a:endParaRPr lang="en-GB" sz="1600" dirty="0">
              <a:solidFill>
                <a:schemeClr val="tx1"/>
              </a:solidFill>
            </a:endParaRPr>
          </a:p>
          <a:p>
            <a:r>
              <a:rPr lang="en-GB" sz="1600" dirty="0">
                <a:solidFill>
                  <a:schemeClr val="tx1"/>
                </a:solidFill>
              </a:rPr>
              <a:t>All social hosing providers participate in Flex Direct</a:t>
            </a:r>
          </a:p>
          <a:p>
            <a:endParaRPr lang="en-GB" sz="1600" dirty="0">
              <a:solidFill>
                <a:schemeClr val="tx1"/>
              </a:solidFill>
            </a:endParaRPr>
          </a:p>
          <a:p>
            <a:r>
              <a:rPr lang="en-GB" sz="1600" dirty="0">
                <a:solidFill>
                  <a:schemeClr val="tx1"/>
                </a:solidFill>
              </a:rPr>
              <a:t>Constant efficiency implementation over years</a:t>
            </a:r>
          </a:p>
          <a:p>
            <a:endParaRPr lang="en-GB" sz="1600" dirty="0">
              <a:solidFill>
                <a:schemeClr val="tx1"/>
              </a:solidFill>
            </a:endParaRPr>
          </a:p>
          <a:p>
            <a:r>
              <a:rPr lang="en-GB" sz="1600" dirty="0">
                <a:solidFill>
                  <a:schemeClr val="tx1"/>
                </a:solidFill>
              </a:rPr>
              <a:t>All social houses are EPC-C by 2028</a:t>
            </a:r>
          </a:p>
        </p:txBody>
      </p:sp>
      <p:sp>
        <p:nvSpPr>
          <p:cNvPr id="5" name="Rectangle 4">
            <a:extLst>
              <a:ext uri="{FF2B5EF4-FFF2-40B4-BE49-F238E27FC236}">
                <a16:creationId xmlns:a16="http://schemas.microsoft.com/office/drawing/2014/main" id="{F5511C7A-17DF-6FE0-4A2C-369351CB442E}"/>
              </a:ext>
            </a:extLst>
          </p:cNvPr>
          <p:cNvSpPr/>
          <p:nvPr/>
        </p:nvSpPr>
        <p:spPr>
          <a:xfrm>
            <a:off x="406269" y="1196296"/>
            <a:ext cx="2406449" cy="74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dirty="0">
                <a:solidFill>
                  <a:schemeClr val="bg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Rightmove’s energy bill tracker </a:t>
            </a:r>
            <a:r>
              <a:rPr lang="en-GB" sz="1440" dirty="0">
                <a:latin typeface="Arial" panose="020B0604020202020204" pitchFamily="34" charset="0"/>
                <a:cs typeface="Arial" panose="020B0604020202020204" pitchFamily="34" charset="0"/>
              </a:rPr>
              <a:t>(used as a proxy for peak reduction)</a:t>
            </a:r>
          </a:p>
        </p:txBody>
      </p:sp>
      <p:sp>
        <p:nvSpPr>
          <p:cNvPr id="6" name="Rectangle 5">
            <a:extLst>
              <a:ext uri="{FF2B5EF4-FFF2-40B4-BE49-F238E27FC236}">
                <a16:creationId xmlns:a16="http://schemas.microsoft.com/office/drawing/2014/main" id="{8E06FFD6-5234-6C4D-9E9D-B3F67F124612}"/>
              </a:ext>
            </a:extLst>
          </p:cNvPr>
          <p:cNvSpPr/>
          <p:nvPr/>
        </p:nvSpPr>
        <p:spPr>
          <a:xfrm>
            <a:off x="406270" y="3599309"/>
            <a:ext cx="1641782" cy="7138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dirty="0">
                <a:latin typeface="Arial" panose="020B0604020202020204" pitchFamily="34" charset="0"/>
                <a:cs typeface="Arial" panose="020B0604020202020204" pitchFamily="34" charset="0"/>
              </a:rPr>
              <a:t>Percentage of social homes per </a:t>
            </a:r>
            <a:r>
              <a:rPr lang="en-GB" sz="1440" dirty="0">
                <a:solidFill>
                  <a:schemeClr val="bg1"/>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EPC rating</a:t>
            </a:r>
            <a:endParaRPr lang="en-GB" sz="144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88B97CFA-505B-8A20-353D-5AE5D934EBAD}"/>
              </a:ext>
            </a:extLst>
          </p:cNvPr>
          <p:cNvSpPr/>
          <p:nvPr/>
        </p:nvSpPr>
        <p:spPr>
          <a:xfrm>
            <a:off x="406269" y="5686163"/>
            <a:ext cx="2406449" cy="7138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Typical after diversity maximum demand (ADMD)</a:t>
            </a:r>
          </a:p>
        </p:txBody>
      </p:sp>
      <p:sp>
        <p:nvSpPr>
          <p:cNvPr id="8" name="Rectangle 7">
            <a:extLst>
              <a:ext uri="{FF2B5EF4-FFF2-40B4-BE49-F238E27FC236}">
                <a16:creationId xmlns:a16="http://schemas.microsoft.com/office/drawing/2014/main" id="{9DE7EDB0-9FD8-1053-5811-2F7F781519B8}"/>
              </a:ext>
            </a:extLst>
          </p:cNvPr>
          <p:cNvSpPr/>
          <p:nvPr/>
        </p:nvSpPr>
        <p:spPr>
          <a:xfrm>
            <a:off x="2765374" y="2334006"/>
            <a:ext cx="1698007" cy="7166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Average peak reduction is about 32%</a:t>
            </a:r>
          </a:p>
        </p:txBody>
      </p:sp>
      <p:sp>
        <p:nvSpPr>
          <p:cNvPr id="9" name="Rectangle 8">
            <a:extLst>
              <a:ext uri="{FF2B5EF4-FFF2-40B4-BE49-F238E27FC236}">
                <a16:creationId xmlns:a16="http://schemas.microsoft.com/office/drawing/2014/main" id="{D80CD928-F77D-C9AE-E6E2-D110C191E6B1}"/>
              </a:ext>
            </a:extLst>
          </p:cNvPr>
          <p:cNvSpPr/>
          <p:nvPr/>
        </p:nvSpPr>
        <p:spPr>
          <a:xfrm>
            <a:off x="2765374" y="3508764"/>
            <a:ext cx="1702147" cy="9080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Percentage of social homes rated EPC D-F is 44%</a:t>
            </a:r>
          </a:p>
        </p:txBody>
      </p:sp>
      <p:sp>
        <p:nvSpPr>
          <p:cNvPr id="10" name="Rectangle 9">
            <a:extLst>
              <a:ext uri="{FF2B5EF4-FFF2-40B4-BE49-F238E27FC236}">
                <a16:creationId xmlns:a16="http://schemas.microsoft.com/office/drawing/2014/main" id="{C9907E61-DFB8-28E7-783E-EEC7071DF70C}"/>
              </a:ext>
            </a:extLst>
          </p:cNvPr>
          <p:cNvSpPr/>
          <p:nvPr/>
        </p:nvSpPr>
        <p:spPr>
          <a:xfrm>
            <a:off x="2761236" y="4748680"/>
            <a:ext cx="1702145" cy="7776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Average ADMD is 2.82 kW </a:t>
            </a:r>
          </a:p>
        </p:txBody>
      </p:sp>
      <p:cxnSp>
        <p:nvCxnSpPr>
          <p:cNvPr id="16" name="Connector: Elbow 15">
            <a:extLst>
              <a:ext uri="{FF2B5EF4-FFF2-40B4-BE49-F238E27FC236}">
                <a16:creationId xmlns:a16="http://schemas.microsoft.com/office/drawing/2014/main" id="{13B4B618-5CB9-CF79-A021-E7B04DED15A7}"/>
              </a:ext>
            </a:extLst>
          </p:cNvPr>
          <p:cNvCxnSpPr>
            <a:cxnSpLocks/>
            <a:stCxn id="6" idx="3"/>
            <a:endCxn id="8" idx="1"/>
          </p:cNvCxnSpPr>
          <p:nvPr/>
        </p:nvCxnSpPr>
        <p:spPr>
          <a:xfrm flipV="1">
            <a:off x="2048052" y="2692338"/>
            <a:ext cx="717322" cy="12639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B2B645A1-2692-BA2E-C76D-BA7054124F06}"/>
              </a:ext>
            </a:extLst>
          </p:cNvPr>
          <p:cNvCxnSpPr>
            <a:cxnSpLocks/>
            <a:stCxn id="6" idx="3"/>
            <a:endCxn id="9" idx="1"/>
          </p:cNvCxnSpPr>
          <p:nvPr/>
        </p:nvCxnSpPr>
        <p:spPr>
          <a:xfrm>
            <a:off x="2048052" y="3956254"/>
            <a:ext cx="717322" cy="6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AF3CF3C7-7566-F149-B294-5443F4409374}"/>
              </a:ext>
            </a:extLst>
          </p:cNvPr>
          <p:cNvCxnSpPr>
            <a:cxnSpLocks/>
            <a:stCxn id="6" idx="3"/>
            <a:endCxn id="10" idx="1"/>
          </p:cNvCxnSpPr>
          <p:nvPr/>
        </p:nvCxnSpPr>
        <p:spPr>
          <a:xfrm>
            <a:off x="2048052" y="3956254"/>
            <a:ext cx="713184" cy="11812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CAC26B5-9E7D-7ED2-EED0-AF242A4D02C5}"/>
              </a:ext>
            </a:extLst>
          </p:cNvPr>
          <p:cNvCxnSpPr>
            <a:cxnSpLocks/>
            <a:stCxn id="5" idx="3"/>
            <a:endCxn id="8" idx="0"/>
          </p:cNvCxnSpPr>
          <p:nvPr/>
        </p:nvCxnSpPr>
        <p:spPr>
          <a:xfrm>
            <a:off x="2812719" y="1569896"/>
            <a:ext cx="801659" cy="76411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B322A8EF-AD59-2B35-FD24-D0991B7AE671}"/>
              </a:ext>
            </a:extLst>
          </p:cNvPr>
          <p:cNvCxnSpPr>
            <a:cxnSpLocks/>
            <a:stCxn id="7" idx="3"/>
            <a:endCxn id="10" idx="2"/>
          </p:cNvCxnSpPr>
          <p:nvPr/>
        </p:nvCxnSpPr>
        <p:spPr>
          <a:xfrm flipV="1">
            <a:off x="2812719" y="5526366"/>
            <a:ext cx="799590" cy="51674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665B009-E993-0371-E25F-7961C5579C5B}"/>
              </a:ext>
            </a:extLst>
          </p:cNvPr>
          <p:cNvSpPr/>
          <p:nvPr/>
        </p:nvSpPr>
        <p:spPr>
          <a:xfrm>
            <a:off x="5072388" y="1678060"/>
            <a:ext cx="1405324" cy="74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Social housing stock per local authority area</a:t>
            </a:r>
          </a:p>
        </p:txBody>
      </p:sp>
      <p:sp>
        <p:nvSpPr>
          <p:cNvPr id="40" name="Rectangle 39">
            <a:extLst>
              <a:ext uri="{FF2B5EF4-FFF2-40B4-BE49-F238E27FC236}">
                <a16:creationId xmlns:a16="http://schemas.microsoft.com/office/drawing/2014/main" id="{D910F746-1A32-2818-9B2F-832D2568CCF1}"/>
              </a:ext>
            </a:extLst>
          </p:cNvPr>
          <p:cNvSpPr/>
          <p:nvPr/>
        </p:nvSpPr>
        <p:spPr>
          <a:xfrm>
            <a:off x="6624874" y="1678060"/>
            <a:ext cx="812824" cy="74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DNO regions</a:t>
            </a:r>
          </a:p>
        </p:txBody>
      </p:sp>
      <p:sp>
        <p:nvSpPr>
          <p:cNvPr id="41" name="Rectangle 40">
            <a:extLst>
              <a:ext uri="{FF2B5EF4-FFF2-40B4-BE49-F238E27FC236}">
                <a16:creationId xmlns:a16="http://schemas.microsoft.com/office/drawing/2014/main" id="{7D00D32C-7F8C-5318-87E2-DF89CC2EC20D}"/>
              </a:ext>
            </a:extLst>
          </p:cNvPr>
          <p:cNvSpPr/>
          <p:nvPr/>
        </p:nvSpPr>
        <p:spPr>
          <a:xfrm>
            <a:off x="5091619" y="2731076"/>
            <a:ext cx="2346079" cy="5184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Social housing stock per DNO area</a:t>
            </a:r>
          </a:p>
        </p:txBody>
      </p:sp>
      <p:cxnSp>
        <p:nvCxnSpPr>
          <p:cNvPr id="64" name="Connector: Elbow 63">
            <a:extLst>
              <a:ext uri="{FF2B5EF4-FFF2-40B4-BE49-F238E27FC236}">
                <a16:creationId xmlns:a16="http://schemas.microsoft.com/office/drawing/2014/main" id="{3B30BF98-06BE-53FA-14E6-DD17D3F9142C}"/>
              </a:ext>
            </a:extLst>
          </p:cNvPr>
          <p:cNvCxnSpPr>
            <a:cxnSpLocks/>
            <a:stCxn id="39" idx="2"/>
            <a:endCxn id="41" idx="0"/>
          </p:cNvCxnSpPr>
          <p:nvPr/>
        </p:nvCxnSpPr>
        <p:spPr>
          <a:xfrm rot="16200000" flipH="1">
            <a:off x="5866946" y="2333362"/>
            <a:ext cx="305817" cy="48960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62543D1-9463-D7F4-01EA-D4664B3E9D17}"/>
              </a:ext>
            </a:extLst>
          </p:cNvPr>
          <p:cNvCxnSpPr>
            <a:cxnSpLocks/>
            <a:stCxn id="40" idx="2"/>
            <a:endCxn id="41" idx="0"/>
          </p:cNvCxnSpPr>
          <p:nvPr/>
        </p:nvCxnSpPr>
        <p:spPr>
          <a:xfrm rot="5400000">
            <a:off x="6495065" y="2194854"/>
            <a:ext cx="305817" cy="76662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43D1C729-7950-1C8F-8169-111FDE888210}"/>
              </a:ext>
            </a:extLst>
          </p:cNvPr>
          <p:cNvSpPr/>
          <p:nvPr/>
        </p:nvSpPr>
        <p:spPr>
          <a:xfrm>
            <a:off x="5091619" y="3508764"/>
            <a:ext cx="2346079" cy="8949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a:latin typeface="Arial" panose="020B0604020202020204" pitchFamily="34" charset="0"/>
                <a:cs typeface="Arial" panose="020B0604020202020204" pitchFamily="34" charset="0"/>
              </a:rPr>
              <a:t>Peak demand reduction per DNO area</a:t>
            </a:r>
          </a:p>
        </p:txBody>
      </p:sp>
      <p:cxnSp>
        <p:nvCxnSpPr>
          <p:cNvPr id="69" name="Connector: Elbow 68">
            <a:extLst>
              <a:ext uri="{FF2B5EF4-FFF2-40B4-BE49-F238E27FC236}">
                <a16:creationId xmlns:a16="http://schemas.microsoft.com/office/drawing/2014/main" id="{D6CB8BF0-7778-4C8B-E8A7-F08D674A4FC6}"/>
              </a:ext>
            </a:extLst>
          </p:cNvPr>
          <p:cNvCxnSpPr>
            <a:cxnSpLocks/>
            <a:stCxn id="8" idx="3"/>
            <a:endCxn id="67" idx="1"/>
          </p:cNvCxnSpPr>
          <p:nvPr/>
        </p:nvCxnSpPr>
        <p:spPr>
          <a:xfrm>
            <a:off x="4463381" y="2692338"/>
            <a:ext cx="628238" cy="12639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48E0E68-CB4B-8A10-AEBD-7F7752A7B5E7}"/>
              </a:ext>
            </a:extLst>
          </p:cNvPr>
          <p:cNvCxnSpPr>
            <a:cxnSpLocks/>
            <a:stCxn id="9" idx="3"/>
            <a:endCxn id="67" idx="1"/>
          </p:cNvCxnSpPr>
          <p:nvPr/>
        </p:nvCxnSpPr>
        <p:spPr>
          <a:xfrm flipV="1">
            <a:off x="4467521" y="3956254"/>
            <a:ext cx="624098" cy="6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56374936-5017-140C-A40E-55635EE74BF9}"/>
              </a:ext>
            </a:extLst>
          </p:cNvPr>
          <p:cNvCxnSpPr>
            <a:cxnSpLocks/>
            <a:stCxn id="10" idx="3"/>
            <a:endCxn id="67" idx="1"/>
          </p:cNvCxnSpPr>
          <p:nvPr/>
        </p:nvCxnSpPr>
        <p:spPr>
          <a:xfrm flipV="1">
            <a:off x="4463381" y="3956254"/>
            <a:ext cx="628238" cy="11812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7A334645-4811-F464-5161-A70607C50D7D}"/>
              </a:ext>
            </a:extLst>
          </p:cNvPr>
          <p:cNvCxnSpPr>
            <a:stCxn id="41" idx="2"/>
            <a:endCxn id="67" idx="0"/>
          </p:cNvCxnSpPr>
          <p:nvPr/>
        </p:nvCxnSpPr>
        <p:spPr>
          <a:xfrm>
            <a:off x="6264659" y="3249534"/>
            <a:ext cx="0" cy="259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0023B18A-BB0C-6FEC-BA31-74AB0FE70A16}"/>
              </a:ext>
            </a:extLst>
          </p:cNvPr>
          <p:cNvSpPr/>
          <p:nvPr/>
        </p:nvSpPr>
        <p:spPr>
          <a:xfrm>
            <a:off x="5024244" y="5007050"/>
            <a:ext cx="2485757" cy="13930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40" dirty="0">
                <a:latin typeface="Arial" panose="020B0604020202020204" pitchFamily="34" charset="0"/>
                <a:cs typeface="Arial" panose="020B0604020202020204" pitchFamily="34" charset="0"/>
              </a:rPr>
              <a:t>Time horizon for implementing peak reduction in network planning</a:t>
            </a:r>
          </a:p>
          <a:p>
            <a:pPr algn="ctr"/>
            <a:r>
              <a:rPr lang="en-GB" sz="1440" dirty="0">
                <a:latin typeface="Arial" panose="020B0604020202020204" pitchFamily="34" charset="0"/>
                <a:cs typeface="Arial" panose="020B0604020202020204" pitchFamily="34" charset="0"/>
              </a:rPr>
              <a:t>Counterfactual: three years</a:t>
            </a:r>
          </a:p>
          <a:p>
            <a:pPr algn="ctr"/>
            <a:r>
              <a:rPr lang="en-GB" sz="1440" dirty="0">
                <a:latin typeface="Arial" panose="020B0604020202020204" pitchFamily="34" charset="0"/>
                <a:cs typeface="Arial" panose="020B0604020202020204" pitchFamily="34" charset="0"/>
              </a:rPr>
              <a:t>Flex Direct: immediately</a:t>
            </a:r>
          </a:p>
        </p:txBody>
      </p:sp>
      <p:cxnSp>
        <p:nvCxnSpPr>
          <p:cNvPr id="97" name="Straight Arrow Connector 96">
            <a:extLst>
              <a:ext uri="{FF2B5EF4-FFF2-40B4-BE49-F238E27FC236}">
                <a16:creationId xmlns:a16="http://schemas.microsoft.com/office/drawing/2014/main" id="{C61BD115-0116-0678-0542-D1F35C4331F1}"/>
              </a:ext>
            </a:extLst>
          </p:cNvPr>
          <p:cNvCxnSpPr>
            <a:cxnSpLocks/>
            <a:stCxn id="95" idx="0"/>
            <a:endCxn id="67" idx="2"/>
          </p:cNvCxnSpPr>
          <p:nvPr/>
        </p:nvCxnSpPr>
        <p:spPr>
          <a:xfrm flipH="1" flipV="1">
            <a:off x="6264659" y="4403744"/>
            <a:ext cx="2464" cy="6033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2BFDB61-8614-C022-A64F-32B5154955AF}"/>
              </a:ext>
            </a:extLst>
          </p:cNvPr>
          <p:cNvCxnSpPr>
            <a:cxnSpLocks/>
            <a:stCxn id="67" idx="3"/>
            <a:endCxn id="113" idx="1"/>
          </p:cNvCxnSpPr>
          <p:nvPr/>
        </p:nvCxnSpPr>
        <p:spPr>
          <a:xfrm flipV="1">
            <a:off x="7437698" y="3947020"/>
            <a:ext cx="399798" cy="92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D2BB1DDB-DA44-E0CE-8130-BA91EA7C697C}"/>
              </a:ext>
            </a:extLst>
          </p:cNvPr>
          <p:cNvSpPr txBox="1"/>
          <p:nvPr/>
        </p:nvSpPr>
        <p:spPr>
          <a:xfrm>
            <a:off x="7837496" y="3679254"/>
            <a:ext cx="913398" cy="535531"/>
          </a:xfrm>
          <a:prstGeom prst="rect">
            <a:avLst/>
          </a:prstGeom>
          <a:noFill/>
        </p:spPr>
        <p:txBody>
          <a:bodyPr wrap="square" rtlCol="0">
            <a:spAutoFit/>
          </a:bodyPr>
          <a:lstStyle/>
          <a:p>
            <a:r>
              <a:rPr lang="en-GB" sz="1440">
                <a:latin typeface="Arial" panose="020B0604020202020204" pitchFamily="34" charset="0"/>
                <a:cs typeface="Arial" panose="020B0604020202020204" pitchFamily="34" charset="0"/>
              </a:rPr>
              <a:t>Network planning</a:t>
            </a:r>
          </a:p>
        </p:txBody>
      </p:sp>
      <p:sp>
        <p:nvSpPr>
          <p:cNvPr id="12" name="Rectangle 11">
            <a:extLst>
              <a:ext uri="{FF2B5EF4-FFF2-40B4-BE49-F238E27FC236}">
                <a16:creationId xmlns:a16="http://schemas.microsoft.com/office/drawing/2014/main" id="{71857B8A-1736-1140-88F8-A4B2049AF626}"/>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pic>
        <p:nvPicPr>
          <p:cNvPr id="13" name="Picture 12" descr="A blue text on a black background&#10;&#10;Description automatically generated">
            <a:extLst>
              <a:ext uri="{FF2B5EF4-FFF2-40B4-BE49-F238E27FC236}">
                <a16:creationId xmlns:a16="http://schemas.microsoft.com/office/drawing/2014/main" id="{A1BB3F69-5107-B8EA-0017-2B89D21015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83915" y="5921233"/>
            <a:ext cx="1636450" cy="594977"/>
          </a:xfrm>
          <a:prstGeom prst="rect">
            <a:avLst/>
          </a:prstGeom>
        </p:spPr>
      </p:pic>
      <p:sp>
        <p:nvSpPr>
          <p:cNvPr id="14" name="TextBox 13">
            <a:extLst>
              <a:ext uri="{FF2B5EF4-FFF2-40B4-BE49-F238E27FC236}">
                <a16:creationId xmlns:a16="http://schemas.microsoft.com/office/drawing/2014/main" id="{535D53F1-877A-52F7-5DBB-992D5B298B40}"/>
              </a:ext>
            </a:extLst>
          </p:cNvPr>
          <p:cNvSpPr txBox="1"/>
          <p:nvPr/>
        </p:nvSpPr>
        <p:spPr>
          <a:xfrm>
            <a:off x="4974211" y="963662"/>
            <a:ext cx="3042303" cy="707886"/>
          </a:xfrm>
          <a:prstGeom prst="rect">
            <a:avLst/>
          </a:prstGeom>
          <a:noFill/>
        </p:spPr>
        <p:txBody>
          <a:bodyPr wrap="square" rtlCol="0">
            <a:spAutoFit/>
          </a:bodyPr>
          <a:lstStyle/>
          <a:p>
            <a:r>
              <a:rPr lang="en-GB" sz="800">
                <a:latin typeface="Arial" panose="020B0604020202020204" pitchFamily="34" charset="0"/>
                <a:cs typeface="Arial" panose="020B0604020202020204" pitchFamily="34" charset="0"/>
              </a:rPr>
              <a:t>Sources: England, Welsh and Scottish governments: social housing stock, and LSOA/DZ and local authority lookup</a:t>
            </a:r>
          </a:p>
          <a:p>
            <a:r>
              <a:rPr lang="en-GB" sz="800">
                <a:latin typeface="Arial" panose="020B0604020202020204" pitchFamily="34" charset="0"/>
                <a:cs typeface="Arial" panose="020B0604020202020204" pitchFamily="34" charset="0"/>
              </a:rPr>
              <a:t>Office for National Statistics and Scottish Government: OA, LSOA, and DZ boundary map</a:t>
            </a:r>
          </a:p>
          <a:p>
            <a:r>
              <a:rPr lang="en-GB" sz="800">
                <a:latin typeface="Arial" panose="020B0604020202020204" pitchFamily="34" charset="0"/>
                <a:cs typeface="Arial" panose="020B0604020202020204" pitchFamily="34" charset="0"/>
              </a:rPr>
              <a:t>The NG ESO: GIS boundaries for GB DNO licence regions</a:t>
            </a:r>
          </a:p>
        </p:txBody>
      </p:sp>
    </p:spTree>
    <p:extLst>
      <p:ext uri="{BB962C8B-B14F-4D97-AF65-F5344CB8AC3E}">
        <p14:creationId xmlns:p14="http://schemas.microsoft.com/office/powerpoint/2010/main" val="23724423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2FDFD-3FA4-0CF1-2B03-6F3B2CDE75DA}"/>
              </a:ext>
            </a:extLst>
          </p:cNvPr>
          <p:cNvSpPr/>
          <p:nvPr/>
        </p:nvSpPr>
        <p:spPr>
          <a:xfrm>
            <a:off x="390525" y="6450938"/>
            <a:ext cx="10963275" cy="1752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B4C6E788-3090-A7C5-9A3C-8663038D4256}"/>
              </a:ext>
            </a:extLst>
          </p:cNvPr>
          <p:cNvSpPr/>
          <p:nvPr/>
        </p:nvSpPr>
        <p:spPr>
          <a:xfrm>
            <a:off x="10239216" y="5724643"/>
            <a:ext cx="1781149" cy="7915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320C5A00-BDAB-1E92-31DA-DB865DFCF8E1}"/>
              </a:ext>
            </a:extLst>
          </p:cNvPr>
          <p:cNvSpPr>
            <a:spLocks noGrp="1"/>
          </p:cNvSpPr>
          <p:nvPr>
            <p:ph type="title"/>
          </p:nvPr>
        </p:nvSpPr>
        <p:spPr/>
        <p:txBody>
          <a:bodyPr>
            <a:normAutofit/>
          </a:bodyPr>
          <a:lstStyle/>
          <a:p>
            <a:r>
              <a:rPr lang="en-GB" sz="2800"/>
              <a:t>Load Related Expenditure Results</a:t>
            </a:r>
          </a:p>
        </p:txBody>
      </p:sp>
      <p:sp>
        <p:nvSpPr>
          <p:cNvPr id="3" name="Content Placeholder 2">
            <a:extLst>
              <a:ext uri="{FF2B5EF4-FFF2-40B4-BE49-F238E27FC236}">
                <a16:creationId xmlns:a16="http://schemas.microsoft.com/office/drawing/2014/main" id="{B98FBC70-51C1-465F-DD18-794665E430BA}"/>
              </a:ext>
            </a:extLst>
          </p:cNvPr>
          <p:cNvSpPr>
            <a:spLocks noGrp="1"/>
          </p:cNvSpPr>
          <p:nvPr>
            <p:ph type="body" sz="quarter" idx="23"/>
          </p:nvPr>
        </p:nvSpPr>
        <p:spPr>
          <a:xfrm>
            <a:off x="1014883" y="2187651"/>
            <a:ext cx="10888662" cy="386643"/>
          </a:xfrm>
        </p:spPr>
        <p:txBody>
          <a:bodyPr numCol="2">
            <a:normAutofit fontScale="92500" lnSpcReduction="10000"/>
          </a:bodyPr>
          <a:lstStyle/>
          <a:p>
            <a:pPr marL="0" indent="0" algn="ctr">
              <a:buNone/>
            </a:pPr>
            <a:r>
              <a:rPr lang="en-GB" sz="2400"/>
              <a:t>UK Power Networks</a:t>
            </a:r>
            <a:r>
              <a:rPr lang="en-GB" sz="2400" dirty="0"/>
              <a:t>’ Network</a:t>
            </a:r>
            <a:endParaRPr lang="en-GB" sz="2400"/>
          </a:p>
          <a:p>
            <a:pPr marL="0" indent="0" algn="ctr">
              <a:buNone/>
            </a:pPr>
            <a:r>
              <a:rPr lang="en-GB" sz="2400" dirty="0"/>
              <a:t>All </a:t>
            </a:r>
            <a:r>
              <a:rPr lang="en-GB" sz="2400"/>
              <a:t>GB </a:t>
            </a:r>
            <a:r>
              <a:rPr lang="en-GB" sz="2400" dirty="0"/>
              <a:t>DNO Networks</a:t>
            </a:r>
            <a:endParaRPr lang="en-GB" sz="2400"/>
          </a:p>
        </p:txBody>
      </p:sp>
      <p:graphicFrame>
        <p:nvGraphicFramePr>
          <p:cNvPr id="5" name="Chart 4">
            <a:extLst>
              <a:ext uri="{FF2B5EF4-FFF2-40B4-BE49-F238E27FC236}">
                <a16:creationId xmlns:a16="http://schemas.microsoft.com/office/drawing/2014/main" id="{D15CA2F3-1CE4-5907-31D7-4753DCBCD454}"/>
              </a:ext>
            </a:extLst>
          </p:cNvPr>
          <p:cNvGraphicFramePr>
            <a:graphicFrameLocks/>
          </p:cNvGraphicFramePr>
          <p:nvPr>
            <p:extLst>
              <p:ext uri="{D42A27DB-BD31-4B8C-83A1-F6EECF244321}">
                <p14:modId xmlns:p14="http://schemas.microsoft.com/office/powerpoint/2010/main" val="4268648700"/>
              </p:ext>
            </p:extLst>
          </p:nvPr>
        </p:nvGraphicFramePr>
        <p:xfrm>
          <a:off x="1775311" y="2651004"/>
          <a:ext cx="4049066" cy="24635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E4A623C4-3674-734E-6060-31BAD0D6B777}"/>
              </a:ext>
            </a:extLst>
          </p:cNvPr>
          <p:cNvGraphicFramePr>
            <a:graphicFrameLocks/>
          </p:cNvGraphicFramePr>
          <p:nvPr>
            <p:extLst>
              <p:ext uri="{D42A27DB-BD31-4B8C-83A1-F6EECF244321}">
                <p14:modId xmlns:p14="http://schemas.microsoft.com/office/powerpoint/2010/main" val="791963656"/>
              </p:ext>
            </p:extLst>
          </p:nvPr>
        </p:nvGraphicFramePr>
        <p:xfrm>
          <a:off x="1775311" y="5332996"/>
          <a:ext cx="4049066" cy="12933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611F40F2-DAD2-4E85-9F69-C669C8E108F6}"/>
              </a:ext>
            </a:extLst>
          </p:cNvPr>
          <p:cNvGraphicFramePr>
            <a:graphicFrameLocks/>
          </p:cNvGraphicFramePr>
          <p:nvPr>
            <p:extLst>
              <p:ext uri="{D42A27DB-BD31-4B8C-83A1-F6EECF244321}">
                <p14:modId xmlns:p14="http://schemas.microsoft.com/office/powerpoint/2010/main" val="1783235241"/>
              </p:ext>
            </p:extLst>
          </p:nvPr>
        </p:nvGraphicFramePr>
        <p:xfrm>
          <a:off x="7080724" y="2563754"/>
          <a:ext cx="4049066" cy="24635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35A34725-8E59-40E4-9FA6-F3D2ADFB2A3B}"/>
              </a:ext>
            </a:extLst>
          </p:cNvPr>
          <p:cNvGraphicFramePr>
            <a:graphicFrameLocks/>
          </p:cNvGraphicFramePr>
          <p:nvPr>
            <p:extLst>
              <p:ext uri="{D42A27DB-BD31-4B8C-83A1-F6EECF244321}">
                <p14:modId xmlns:p14="http://schemas.microsoft.com/office/powerpoint/2010/main" val="2545507381"/>
              </p:ext>
            </p:extLst>
          </p:nvPr>
        </p:nvGraphicFramePr>
        <p:xfrm>
          <a:off x="7080724" y="5332996"/>
          <a:ext cx="4049066" cy="1293190"/>
        </p:xfrm>
        <a:graphic>
          <a:graphicData uri="http://schemas.openxmlformats.org/drawingml/2006/chart">
            <c:chart xmlns:c="http://schemas.openxmlformats.org/drawingml/2006/chart" xmlns:r="http://schemas.openxmlformats.org/officeDocument/2006/relationships" r:id="rId5"/>
          </a:graphicData>
        </a:graphic>
      </p:graphicFrame>
      <p:pic>
        <p:nvPicPr>
          <p:cNvPr id="11" name="Picture 10" descr="A blue text on a black background&#10;&#10;Description automatically generated">
            <a:extLst>
              <a:ext uri="{FF2B5EF4-FFF2-40B4-BE49-F238E27FC236}">
                <a16:creationId xmlns:a16="http://schemas.microsoft.com/office/drawing/2014/main" id="{AD1DDEB1-CB3A-C148-5604-3911D178FC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3915" y="482501"/>
            <a:ext cx="1636450" cy="594977"/>
          </a:xfrm>
          <a:prstGeom prst="rect">
            <a:avLst/>
          </a:prstGeom>
        </p:spPr>
      </p:pic>
      <p:sp>
        <p:nvSpPr>
          <p:cNvPr id="4" name="TextBox 3">
            <a:extLst>
              <a:ext uri="{FF2B5EF4-FFF2-40B4-BE49-F238E27FC236}">
                <a16:creationId xmlns:a16="http://schemas.microsoft.com/office/drawing/2014/main" id="{CA5C675F-93D5-C110-F9B6-7BB258626EA8}"/>
              </a:ext>
            </a:extLst>
          </p:cNvPr>
          <p:cNvSpPr txBox="1"/>
          <p:nvPr/>
        </p:nvSpPr>
        <p:spPr>
          <a:xfrm>
            <a:off x="465135" y="3083378"/>
            <a:ext cx="1072842" cy="110799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err="1">
                <a:latin typeface="Arial" panose="020B0604020202020204" pitchFamily="34" charset="0"/>
                <a:ea typeface="Calibri"/>
                <a:cs typeface="Arial" panose="020B0604020202020204" pitchFamily="34" charset="0"/>
              </a:rPr>
              <a:t>FlexDirect</a:t>
            </a:r>
            <a:r>
              <a:rPr lang="en-US" sz="1100">
                <a:latin typeface="Arial" panose="020B0604020202020204" pitchFamily="34" charset="0"/>
                <a:ea typeface="Calibri"/>
                <a:cs typeface="Arial" panose="020B0604020202020204" pitchFamily="34" charset="0"/>
              </a:rPr>
              <a:t> defers distribution network reinforcement to later years</a:t>
            </a:r>
            <a:endParaRPr lang="en-US" sz="11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66A82BD-0B7B-1529-E17D-90FA0EE117A1}"/>
              </a:ext>
            </a:extLst>
          </p:cNvPr>
          <p:cNvSpPr txBox="1"/>
          <p:nvPr/>
        </p:nvSpPr>
        <p:spPr>
          <a:xfrm>
            <a:off x="533424" y="5216811"/>
            <a:ext cx="1152339" cy="93871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err="1">
                <a:latin typeface="Arial" panose="020B0604020202020204" pitchFamily="34" charset="0"/>
                <a:ea typeface="Calibri"/>
                <a:cs typeface="Arial" panose="020B0604020202020204" pitchFamily="34" charset="0"/>
              </a:rPr>
              <a:t>FlexDirect</a:t>
            </a:r>
            <a:r>
              <a:rPr lang="en-US" sz="1100">
                <a:latin typeface="Arial" panose="020B0604020202020204" pitchFamily="34" charset="0"/>
                <a:ea typeface="Calibri"/>
                <a:cs typeface="Arial" panose="020B0604020202020204" pitchFamily="34" charset="0"/>
              </a:rPr>
              <a:t> has indirect carbon benefits as it defers network reinforcement.</a:t>
            </a:r>
          </a:p>
        </p:txBody>
      </p:sp>
      <p:sp>
        <p:nvSpPr>
          <p:cNvPr id="13" name="TextBox 12">
            <a:extLst>
              <a:ext uri="{FF2B5EF4-FFF2-40B4-BE49-F238E27FC236}">
                <a16:creationId xmlns:a16="http://schemas.microsoft.com/office/drawing/2014/main" id="{CE50D697-58F5-2AE6-9F8D-74D45C66257E}"/>
              </a:ext>
            </a:extLst>
          </p:cNvPr>
          <p:cNvSpPr txBox="1"/>
          <p:nvPr/>
        </p:nvSpPr>
        <p:spPr>
          <a:xfrm>
            <a:off x="465135" y="1295942"/>
            <a:ext cx="11393490" cy="830997"/>
          </a:xfrm>
          <a:prstGeom prst="rect">
            <a:avLst/>
          </a:prstGeom>
          <a:noFill/>
        </p:spPr>
        <p:txBody>
          <a:bodyPr wrap="square" rtlCol="0">
            <a:spAutoFit/>
          </a:bodyPr>
          <a:lstStyle/>
          <a:p>
            <a:r>
              <a:rPr lang="en-GB" sz="1600" i="1" dirty="0">
                <a:latin typeface="Arial" panose="020B0604020202020204" pitchFamily="34" charset="0"/>
                <a:cs typeface="Arial" panose="020B0604020202020204" pitchFamily="34" charset="0"/>
              </a:rPr>
              <a:t>These modelling results demonstrate the potential benefits that Flex Direct could bring to the electricity networks should it be implemented as soon as 2025. Further in-depth modelling and subsequent trials will be required to validate these results.</a:t>
            </a:r>
            <a:r>
              <a:rPr lang="en-GB" sz="16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877660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830517" y="2248196"/>
            <a:ext cx="5174720" cy="1595384"/>
          </a:xfrm>
        </p:spPr>
        <p:txBody>
          <a:bodyPr>
            <a:normAutofit fontScale="90000"/>
          </a:bodyPr>
          <a:lstStyle/>
          <a:p>
            <a:pPr>
              <a:lnSpc>
                <a:spcPct val="150000"/>
              </a:lnSpc>
            </a:pPr>
            <a:r>
              <a:rPr lang="en-GB" sz="5400"/>
              <a:t>Project Plan Update</a:t>
            </a:r>
          </a:p>
        </p:txBody>
      </p:sp>
    </p:spTree>
    <p:extLst>
      <p:ext uri="{BB962C8B-B14F-4D97-AF65-F5344CB8AC3E}">
        <p14:creationId xmlns:p14="http://schemas.microsoft.com/office/powerpoint/2010/main" val="351633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a:t>Project Plan - Planned</a:t>
            </a:r>
          </a:p>
        </p:txBody>
      </p:sp>
      <p:graphicFrame>
        <p:nvGraphicFramePr>
          <p:cNvPr id="12" name="Table 11">
            <a:extLst>
              <a:ext uri="{FF2B5EF4-FFF2-40B4-BE49-F238E27FC236}">
                <a16:creationId xmlns:a16="http://schemas.microsoft.com/office/drawing/2014/main" id="{87352465-0F80-18BD-4B69-305E6BC2826A}"/>
              </a:ext>
            </a:extLst>
          </p:cNvPr>
          <p:cNvGraphicFramePr>
            <a:graphicFrameLocks noGrp="1"/>
          </p:cNvGraphicFramePr>
          <p:nvPr>
            <p:extLst>
              <p:ext uri="{D42A27DB-BD31-4B8C-83A1-F6EECF244321}">
                <p14:modId xmlns:p14="http://schemas.microsoft.com/office/powerpoint/2010/main" val="1507618373"/>
              </p:ext>
            </p:extLst>
          </p:nvPr>
        </p:nvGraphicFramePr>
        <p:xfrm>
          <a:off x="381741" y="1296140"/>
          <a:ext cx="11079355" cy="4234094"/>
        </p:xfrm>
        <a:graphic>
          <a:graphicData uri="http://schemas.openxmlformats.org/drawingml/2006/table">
            <a:tbl>
              <a:tblPr/>
              <a:tblGrid>
                <a:gridCol w="325316">
                  <a:extLst>
                    <a:ext uri="{9D8B030D-6E8A-4147-A177-3AD203B41FA5}">
                      <a16:colId xmlns:a16="http://schemas.microsoft.com/office/drawing/2014/main" val="1886492202"/>
                    </a:ext>
                  </a:extLst>
                </a:gridCol>
                <a:gridCol w="3707240">
                  <a:extLst>
                    <a:ext uri="{9D8B030D-6E8A-4147-A177-3AD203B41FA5}">
                      <a16:colId xmlns:a16="http://schemas.microsoft.com/office/drawing/2014/main" val="2600152009"/>
                    </a:ext>
                  </a:extLst>
                </a:gridCol>
                <a:gridCol w="108439">
                  <a:extLst>
                    <a:ext uri="{9D8B030D-6E8A-4147-A177-3AD203B41FA5}">
                      <a16:colId xmlns:a16="http://schemas.microsoft.com/office/drawing/2014/main" val="3268722657"/>
                    </a:ext>
                  </a:extLst>
                </a:gridCol>
                <a:gridCol w="106744">
                  <a:extLst>
                    <a:ext uri="{9D8B030D-6E8A-4147-A177-3AD203B41FA5}">
                      <a16:colId xmlns:a16="http://schemas.microsoft.com/office/drawing/2014/main" val="1645448735"/>
                    </a:ext>
                  </a:extLst>
                </a:gridCol>
                <a:gridCol w="106744">
                  <a:extLst>
                    <a:ext uri="{9D8B030D-6E8A-4147-A177-3AD203B41FA5}">
                      <a16:colId xmlns:a16="http://schemas.microsoft.com/office/drawing/2014/main" val="955050507"/>
                    </a:ext>
                  </a:extLst>
                </a:gridCol>
                <a:gridCol w="106744">
                  <a:extLst>
                    <a:ext uri="{9D8B030D-6E8A-4147-A177-3AD203B41FA5}">
                      <a16:colId xmlns:a16="http://schemas.microsoft.com/office/drawing/2014/main" val="794575689"/>
                    </a:ext>
                  </a:extLst>
                </a:gridCol>
                <a:gridCol w="106744">
                  <a:extLst>
                    <a:ext uri="{9D8B030D-6E8A-4147-A177-3AD203B41FA5}">
                      <a16:colId xmlns:a16="http://schemas.microsoft.com/office/drawing/2014/main" val="2152846060"/>
                    </a:ext>
                  </a:extLst>
                </a:gridCol>
                <a:gridCol w="106744">
                  <a:extLst>
                    <a:ext uri="{9D8B030D-6E8A-4147-A177-3AD203B41FA5}">
                      <a16:colId xmlns:a16="http://schemas.microsoft.com/office/drawing/2014/main" val="1939798695"/>
                    </a:ext>
                  </a:extLst>
                </a:gridCol>
                <a:gridCol w="106744">
                  <a:extLst>
                    <a:ext uri="{9D8B030D-6E8A-4147-A177-3AD203B41FA5}">
                      <a16:colId xmlns:a16="http://schemas.microsoft.com/office/drawing/2014/main" val="2068402500"/>
                    </a:ext>
                  </a:extLst>
                </a:gridCol>
                <a:gridCol w="106744">
                  <a:extLst>
                    <a:ext uri="{9D8B030D-6E8A-4147-A177-3AD203B41FA5}">
                      <a16:colId xmlns:a16="http://schemas.microsoft.com/office/drawing/2014/main" val="3931962968"/>
                    </a:ext>
                  </a:extLst>
                </a:gridCol>
                <a:gridCol w="106744">
                  <a:extLst>
                    <a:ext uri="{9D8B030D-6E8A-4147-A177-3AD203B41FA5}">
                      <a16:colId xmlns:a16="http://schemas.microsoft.com/office/drawing/2014/main" val="642293782"/>
                    </a:ext>
                  </a:extLst>
                </a:gridCol>
                <a:gridCol w="106744">
                  <a:extLst>
                    <a:ext uri="{9D8B030D-6E8A-4147-A177-3AD203B41FA5}">
                      <a16:colId xmlns:a16="http://schemas.microsoft.com/office/drawing/2014/main" val="3857811211"/>
                    </a:ext>
                  </a:extLst>
                </a:gridCol>
                <a:gridCol w="106744">
                  <a:extLst>
                    <a:ext uri="{9D8B030D-6E8A-4147-A177-3AD203B41FA5}">
                      <a16:colId xmlns:a16="http://schemas.microsoft.com/office/drawing/2014/main" val="1658653045"/>
                    </a:ext>
                  </a:extLst>
                </a:gridCol>
                <a:gridCol w="106744">
                  <a:extLst>
                    <a:ext uri="{9D8B030D-6E8A-4147-A177-3AD203B41FA5}">
                      <a16:colId xmlns:a16="http://schemas.microsoft.com/office/drawing/2014/main" val="2367456833"/>
                    </a:ext>
                  </a:extLst>
                </a:gridCol>
                <a:gridCol w="106744">
                  <a:extLst>
                    <a:ext uri="{9D8B030D-6E8A-4147-A177-3AD203B41FA5}">
                      <a16:colId xmlns:a16="http://schemas.microsoft.com/office/drawing/2014/main" val="4285452072"/>
                    </a:ext>
                  </a:extLst>
                </a:gridCol>
                <a:gridCol w="106744">
                  <a:extLst>
                    <a:ext uri="{9D8B030D-6E8A-4147-A177-3AD203B41FA5}">
                      <a16:colId xmlns:a16="http://schemas.microsoft.com/office/drawing/2014/main" val="2952181687"/>
                    </a:ext>
                  </a:extLst>
                </a:gridCol>
                <a:gridCol w="106744">
                  <a:extLst>
                    <a:ext uri="{9D8B030D-6E8A-4147-A177-3AD203B41FA5}">
                      <a16:colId xmlns:a16="http://schemas.microsoft.com/office/drawing/2014/main" val="2858517706"/>
                    </a:ext>
                  </a:extLst>
                </a:gridCol>
                <a:gridCol w="106744">
                  <a:extLst>
                    <a:ext uri="{9D8B030D-6E8A-4147-A177-3AD203B41FA5}">
                      <a16:colId xmlns:a16="http://schemas.microsoft.com/office/drawing/2014/main" val="3254276185"/>
                    </a:ext>
                  </a:extLst>
                </a:gridCol>
                <a:gridCol w="106744">
                  <a:extLst>
                    <a:ext uri="{9D8B030D-6E8A-4147-A177-3AD203B41FA5}">
                      <a16:colId xmlns:a16="http://schemas.microsoft.com/office/drawing/2014/main" val="2905420442"/>
                    </a:ext>
                  </a:extLst>
                </a:gridCol>
                <a:gridCol w="106744">
                  <a:extLst>
                    <a:ext uri="{9D8B030D-6E8A-4147-A177-3AD203B41FA5}">
                      <a16:colId xmlns:a16="http://schemas.microsoft.com/office/drawing/2014/main" val="3794957474"/>
                    </a:ext>
                  </a:extLst>
                </a:gridCol>
                <a:gridCol w="106744">
                  <a:extLst>
                    <a:ext uri="{9D8B030D-6E8A-4147-A177-3AD203B41FA5}">
                      <a16:colId xmlns:a16="http://schemas.microsoft.com/office/drawing/2014/main" val="4095121158"/>
                    </a:ext>
                  </a:extLst>
                </a:gridCol>
                <a:gridCol w="106744">
                  <a:extLst>
                    <a:ext uri="{9D8B030D-6E8A-4147-A177-3AD203B41FA5}">
                      <a16:colId xmlns:a16="http://schemas.microsoft.com/office/drawing/2014/main" val="1436012483"/>
                    </a:ext>
                  </a:extLst>
                </a:gridCol>
                <a:gridCol w="106744">
                  <a:extLst>
                    <a:ext uri="{9D8B030D-6E8A-4147-A177-3AD203B41FA5}">
                      <a16:colId xmlns:a16="http://schemas.microsoft.com/office/drawing/2014/main" val="754777480"/>
                    </a:ext>
                  </a:extLst>
                </a:gridCol>
                <a:gridCol w="106744">
                  <a:extLst>
                    <a:ext uri="{9D8B030D-6E8A-4147-A177-3AD203B41FA5}">
                      <a16:colId xmlns:a16="http://schemas.microsoft.com/office/drawing/2014/main" val="3311043494"/>
                    </a:ext>
                  </a:extLst>
                </a:gridCol>
                <a:gridCol w="106744">
                  <a:extLst>
                    <a:ext uri="{9D8B030D-6E8A-4147-A177-3AD203B41FA5}">
                      <a16:colId xmlns:a16="http://schemas.microsoft.com/office/drawing/2014/main" val="3836831641"/>
                    </a:ext>
                  </a:extLst>
                </a:gridCol>
                <a:gridCol w="106744">
                  <a:extLst>
                    <a:ext uri="{9D8B030D-6E8A-4147-A177-3AD203B41FA5}">
                      <a16:colId xmlns:a16="http://schemas.microsoft.com/office/drawing/2014/main" val="2780758737"/>
                    </a:ext>
                  </a:extLst>
                </a:gridCol>
                <a:gridCol w="106744">
                  <a:extLst>
                    <a:ext uri="{9D8B030D-6E8A-4147-A177-3AD203B41FA5}">
                      <a16:colId xmlns:a16="http://schemas.microsoft.com/office/drawing/2014/main" val="2325378702"/>
                    </a:ext>
                  </a:extLst>
                </a:gridCol>
                <a:gridCol w="106744">
                  <a:extLst>
                    <a:ext uri="{9D8B030D-6E8A-4147-A177-3AD203B41FA5}">
                      <a16:colId xmlns:a16="http://schemas.microsoft.com/office/drawing/2014/main" val="691649753"/>
                    </a:ext>
                  </a:extLst>
                </a:gridCol>
                <a:gridCol w="106744">
                  <a:extLst>
                    <a:ext uri="{9D8B030D-6E8A-4147-A177-3AD203B41FA5}">
                      <a16:colId xmlns:a16="http://schemas.microsoft.com/office/drawing/2014/main" val="3528731517"/>
                    </a:ext>
                  </a:extLst>
                </a:gridCol>
                <a:gridCol w="106744">
                  <a:extLst>
                    <a:ext uri="{9D8B030D-6E8A-4147-A177-3AD203B41FA5}">
                      <a16:colId xmlns:a16="http://schemas.microsoft.com/office/drawing/2014/main" val="1266454389"/>
                    </a:ext>
                  </a:extLst>
                </a:gridCol>
                <a:gridCol w="106744">
                  <a:extLst>
                    <a:ext uri="{9D8B030D-6E8A-4147-A177-3AD203B41FA5}">
                      <a16:colId xmlns:a16="http://schemas.microsoft.com/office/drawing/2014/main" val="1040297280"/>
                    </a:ext>
                  </a:extLst>
                </a:gridCol>
                <a:gridCol w="106744">
                  <a:extLst>
                    <a:ext uri="{9D8B030D-6E8A-4147-A177-3AD203B41FA5}">
                      <a16:colId xmlns:a16="http://schemas.microsoft.com/office/drawing/2014/main" val="2722772306"/>
                    </a:ext>
                  </a:extLst>
                </a:gridCol>
                <a:gridCol w="106744">
                  <a:extLst>
                    <a:ext uri="{9D8B030D-6E8A-4147-A177-3AD203B41FA5}">
                      <a16:colId xmlns:a16="http://schemas.microsoft.com/office/drawing/2014/main" val="278991733"/>
                    </a:ext>
                  </a:extLst>
                </a:gridCol>
                <a:gridCol w="106744">
                  <a:extLst>
                    <a:ext uri="{9D8B030D-6E8A-4147-A177-3AD203B41FA5}">
                      <a16:colId xmlns:a16="http://schemas.microsoft.com/office/drawing/2014/main" val="2328708226"/>
                    </a:ext>
                  </a:extLst>
                </a:gridCol>
                <a:gridCol w="106744">
                  <a:extLst>
                    <a:ext uri="{9D8B030D-6E8A-4147-A177-3AD203B41FA5}">
                      <a16:colId xmlns:a16="http://schemas.microsoft.com/office/drawing/2014/main" val="1782355195"/>
                    </a:ext>
                  </a:extLst>
                </a:gridCol>
                <a:gridCol w="106744">
                  <a:extLst>
                    <a:ext uri="{9D8B030D-6E8A-4147-A177-3AD203B41FA5}">
                      <a16:colId xmlns:a16="http://schemas.microsoft.com/office/drawing/2014/main" val="1554210111"/>
                    </a:ext>
                  </a:extLst>
                </a:gridCol>
                <a:gridCol w="106744">
                  <a:extLst>
                    <a:ext uri="{9D8B030D-6E8A-4147-A177-3AD203B41FA5}">
                      <a16:colId xmlns:a16="http://schemas.microsoft.com/office/drawing/2014/main" val="3964133618"/>
                    </a:ext>
                  </a:extLst>
                </a:gridCol>
                <a:gridCol w="106744">
                  <a:extLst>
                    <a:ext uri="{9D8B030D-6E8A-4147-A177-3AD203B41FA5}">
                      <a16:colId xmlns:a16="http://schemas.microsoft.com/office/drawing/2014/main" val="4289107491"/>
                    </a:ext>
                  </a:extLst>
                </a:gridCol>
                <a:gridCol w="106744">
                  <a:extLst>
                    <a:ext uri="{9D8B030D-6E8A-4147-A177-3AD203B41FA5}">
                      <a16:colId xmlns:a16="http://schemas.microsoft.com/office/drawing/2014/main" val="2243036948"/>
                    </a:ext>
                  </a:extLst>
                </a:gridCol>
                <a:gridCol w="106744">
                  <a:extLst>
                    <a:ext uri="{9D8B030D-6E8A-4147-A177-3AD203B41FA5}">
                      <a16:colId xmlns:a16="http://schemas.microsoft.com/office/drawing/2014/main" val="3771450511"/>
                    </a:ext>
                  </a:extLst>
                </a:gridCol>
                <a:gridCol w="106744">
                  <a:extLst>
                    <a:ext uri="{9D8B030D-6E8A-4147-A177-3AD203B41FA5}">
                      <a16:colId xmlns:a16="http://schemas.microsoft.com/office/drawing/2014/main" val="1531937681"/>
                    </a:ext>
                  </a:extLst>
                </a:gridCol>
                <a:gridCol w="106744">
                  <a:extLst>
                    <a:ext uri="{9D8B030D-6E8A-4147-A177-3AD203B41FA5}">
                      <a16:colId xmlns:a16="http://schemas.microsoft.com/office/drawing/2014/main" val="3339723812"/>
                    </a:ext>
                  </a:extLst>
                </a:gridCol>
                <a:gridCol w="106744">
                  <a:extLst>
                    <a:ext uri="{9D8B030D-6E8A-4147-A177-3AD203B41FA5}">
                      <a16:colId xmlns:a16="http://schemas.microsoft.com/office/drawing/2014/main" val="1410739593"/>
                    </a:ext>
                  </a:extLst>
                </a:gridCol>
                <a:gridCol w="106744">
                  <a:extLst>
                    <a:ext uri="{9D8B030D-6E8A-4147-A177-3AD203B41FA5}">
                      <a16:colId xmlns:a16="http://schemas.microsoft.com/office/drawing/2014/main" val="2768705950"/>
                    </a:ext>
                  </a:extLst>
                </a:gridCol>
                <a:gridCol w="106744">
                  <a:extLst>
                    <a:ext uri="{9D8B030D-6E8A-4147-A177-3AD203B41FA5}">
                      <a16:colId xmlns:a16="http://schemas.microsoft.com/office/drawing/2014/main" val="429778890"/>
                    </a:ext>
                  </a:extLst>
                </a:gridCol>
                <a:gridCol w="106744">
                  <a:extLst>
                    <a:ext uri="{9D8B030D-6E8A-4147-A177-3AD203B41FA5}">
                      <a16:colId xmlns:a16="http://schemas.microsoft.com/office/drawing/2014/main" val="3074818661"/>
                    </a:ext>
                  </a:extLst>
                </a:gridCol>
                <a:gridCol w="106744">
                  <a:extLst>
                    <a:ext uri="{9D8B030D-6E8A-4147-A177-3AD203B41FA5}">
                      <a16:colId xmlns:a16="http://schemas.microsoft.com/office/drawing/2014/main" val="3439759593"/>
                    </a:ext>
                  </a:extLst>
                </a:gridCol>
                <a:gridCol w="106744">
                  <a:extLst>
                    <a:ext uri="{9D8B030D-6E8A-4147-A177-3AD203B41FA5}">
                      <a16:colId xmlns:a16="http://schemas.microsoft.com/office/drawing/2014/main" val="1060049331"/>
                    </a:ext>
                  </a:extLst>
                </a:gridCol>
                <a:gridCol w="106744">
                  <a:extLst>
                    <a:ext uri="{9D8B030D-6E8A-4147-A177-3AD203B41FA5}">
                      <a16:colId xmlns:a16="http://schemas.microsoft.com/office/drawing/2014/main" val="2922602775"/>
                    </a:ext>
                  </a:extLst>
                </a:gridCol>
                <a:gridCol w="106744">
                  <a:extLst>
                    <a:ext uri="{9D8B030D-6E8A-4147-A177-3AD203B41FA5}">
                      <a16:colId xmlns:a16="http://schemas.microsoft.com/office/drawing/2014/main" val="1967128669"/>
                    </a:ext>
                  </a:extLst>
                </a:gridCol>
                <a:gridCol w="106744">
                  <a:extLst>
                    <a:ext uri="{9D8B030D-6E8A-4147-A177-3AD203B41FA5}">
                      <a16:colId xmlns:a16="http://schemas.microsoft.com/office/drawing/2014/main" val="2148102952"/>
                    </a:ext>
                  </a:extLst>
                </a:gridCol>
                <a:gridCol w="106744">
                  <a:extLst>
                    <a:ext uri="{9D8B030D-6E8A-4147-A177-3AD203B41FA5}">
                      <a16:colId xmlns:a16="http://schemas.microsoft.com/office/drawing/2014/main" val="3417961927"/>
                    </a:ext>
                  </a:extLst>
                </a:gridCol>
                <a:gridCol w="106744">
                  <a:extLst>
                    <a:ext uri="{9D8B030D-6E8A-4147-A177-3AD203B41FA5}">
                      <a16:colId xmlns:a16="http://schemas.microsoft.com/office/drawing/2014/main" val="1305895700"/>
                    </a:ext>
                  </a:extLst>
                </a:gridCol>
                <a:gridCol w="106744">
                  <a:extLst>
                    <a:ext uri="{9D8B030D-6E8A-4147-A177-3AD203B41FA5}">
                      <a16:colId xmlns:a16="http://schemas.microsoft.com/office/drawing/2014/main" val="3853220141"/>
                    </a:ext>
                  </a:extLst>
                </a:gridCol>
                <a:gridCol w="106744">
                  <a:extLst>
                    <a:ext uri="{9D8B030D-6E8A-4147-A177-3AD203B41FA5}">
                      <a16:colId xmlns:a16="http://schemas.microsoft.com/office/drawing/2014/main" val="534065166"/>
                    </a:ext>
                  </a:extLst>
                </a:gridCol>
                <a:gridCol w="106744">
                  <a:extLst>
                    <a:ext uri="{9D8B030D-6E8A-4147-A177-3AD203B41FA5}">
                      <a16:colId xmlns:a16="http://schemas.microsoft.com/office/drawing/2014/main" val="257414648"/>
                    </a:ext>
                  </a:extLst>
                </a:gridCol>
                <a:gridCol w="106744">
                  <a:extLst>
                    <a:ext uri="{9D8B030D-6E8A-4147-A177-3AD203B41FA5}">
                      <a16:colId xmlns:a16="http://schemas.microsoft.com/office/drawing/2014/main" val="1140122994"/>
                    </a:ext>
                  </a:extLst>
                </a:gridCol>
                <a:gridCol w="106744">
                  <a:extLst>
                    <a:ext uri="{9D8B030D-6E8A-4147-A177-3AD203B41FA5}">
                      <a16:colId xmlns:a16="http://schemas.microsoft.com/office/drawing/2014/main" val="2329815165"/>
                    </a:ext>
                  </a:extLst>
                </a:gridCol>
                <a:gridCol w="106744">
                  <a:extLst>
                    <a:ext uri="{9D8B030D-6E8A-4147-A177-3AD203B41FA5}">
                      <a16:colId xmlns:a16="http://schemas.microsoft.com/office/drawing/2014/main" val="2026700711"/>
                    </a:ext>
                  </a:extLst>
                </a:gridCol>
                <a:gridCol w="106744">
                  <a:extLst>
                    <a:ext uri="{9D8B030D-6E8A-4147-A177-3AD203B41FA5}">
                      <a16:colId xmlns:a16="http://schemas.microsoft.com/office/drawing/2014/main" val="3147972386"/>
                    </a:ext>
                  </a:extLst>
                </a:gridCol>
                <a:gridCol w="106744">
                  <a:extLst>
                    <a:ext uri="{9D8B030D-6E8A-4147-A177-3AD203B41FA5}">
                      <a16:colId xmlns:a16="http://schemas.microsoft.com/office/drawing/2014/main" val="666708466"/>
                    </a:ext>
                  </a:extLst>
                </a:gridCol>
                <a:gridCol w="106744">
                  <a:extLst>
                    <a:ext uri="{9D8B030D-6E8A-4147-A177-3AD203B41FA5}">
                      <a16:colId xmlns:a16="http://schemas.microsoft.com/office/drawing/2014/main" val="4184147111"/>
                    </a:ext>
                  </a:extLst>
                </a:gridCol>
                <a:gridCol w="106744">
                  <a:extLst>
                    <a:ext uri="{9D8B030D-6E8A-4147-A177-3AD203B41FA5}">
                      <a16:colId xmlns:a16="http://schemas.microsoft.com/office/drawing/2014/main" val="2343653885"/>
                    </a:ext>
                  </a:extLst>
                </a:gridCol>
                <a:gridCol w="106744">
                  <a:extLst>
                    <a:ext uri="{9D8B030D-6E8A-4147-A177-3AD203B41FA5}">
                      <a16:colId xmlns:a16="http://schemas.microsoft.com/office/drawing/2014/main" val="60514969"/>
                    </a:ext>
                  </a:extLst>
                </a:gridCol>
                <a:gridCol w="106744">
                  <a:extLst>
                    <a:ext uri="{9D8B030D-6E8A-4147-A177-3AD203B41FA5}">
                      <a16:colId xmlns:a16="http://schemas.microsoft.com/office/drawing/2014/main" val="2819217504"/>
                    </a:ext>
                  </a:extLst>
                </a:gridCol>
                <a:gridCol w="106744">
                  <a:extLst>
                    <a:ext uri="{9D8B030D-6E8A-4147-A177-3AD203B41FA5}">
                      <a16:colId xmlns:a16="http://schemas.microsoft.com/office/drawing/2014/main" val="65646356"/>
                    </a:ext>
                  </a:extLst>
                </a:gridCol>
                <a:gridCol w="106744">
                  <a:extLst>
                    <a:ext uri="{9D8B030D-6E8A-4147-A177-3AD203B41FA5}">
                      <a16:colId xmlns:a16="http://schemas.microsoft.com/office/drawing/2014/main" val="2118100082"/>
                    </a:ext>
                  </a:extLst>
                </a:gridCol>
                <a:gridCol w="106744">
                  <a:extLst>
                    <a:ext uri="{9D8B030D-6E8A-4147-A177-3AD203B41FA5}">
                      <a16:colId xmlns:a16="http://schemas.microsoft.com/office/drawing/2014/main" val="4124409253"/>
                    </a:ext>
                  </a:extLst>
                </a:gridCol>
              </a:tblGrid>
              <a:tr h="138900">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gridSpan="21">
                  <a:txBody>
                    <a:bodyPr/>
                    <a:lstStyle/>
                    <a:p>
                      <a:pPr algn="ctr" fontAlgn="ctr"/>
                      <a:r>
                        <a:rPr lang="en-GB" sz="600" b="1" i="0" u="none" strike="noStrike">
                          <a:solidFill>
                            <a:srgbClr val="FFFFFF"/>
                          </a:solidFill>
                          <a:effectLst/>
                          <a:latin typeface="Calibri Light" panose="020F0302020204030204" pitchFamily="34" charset="0"/>
                        </a:rPr>
                        <a:t>March</a:t>
                      </a:r>
                    </a:p>
                  </a:txBody>
                  <a:tcPr marL="4777" marR="4777" marT="47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2">
                  <a:txBody>
                    <a:bodyPr/>
                    <a:lstStyle/>
                    <a:p>
                      <a:pPr algn="ctr" fontAlgn="ctr"/>
                      <a:r>
                        <a:rPr lang="en-GB" sz="600" b="1" i="0" u="none" strike="noStrike">
                          <a:solidFill>
                            <a:srgbClr val="FFFFFF"/>
                          </a:solidFill>
                          <a:effectLst/>
                          <a:latin typeface="Calibri Light" panose="020F0302020204030204" pitchFamily="34" charset="0"/>
                        </a:rPr>
                        <a:t>April</a:t>
                      </a:r>
                    </a:p>
                  </a:txBody>
                  <a:tcPr marL="4777" marR="4777" marT="47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3">
                  <a:txBody>
                    <a:bodyPr/>
                    <a:lstStyle/>
                    <a:p>
                      <a:pPr algn="ctr" fontAlgn="ctr"/>
                      <a:r>
                        <a:rPr lang="en-GB" sz="600" b="1" i="0" u="none" strike="noStrike">
                          <a:solidFill>
                            <a:srgbClr val="FFFFFF"/>
                          </a:solidFill>
                          <a:effectLst/>
                          <a:latin typeface="Calibri Light" panose="020F0302020204030204" pitchFamily="34" charset="0"/>
                        </a:rPr>
                        <a:t>May</a:t>
                      </a:r>
                    </a:p>
                  </a:txBody>
                  <a:tcPr marL="4777" marR="4777" marT="4777"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00856797"/>
                  </a:ext>
                </a:extLst>
              </a:tr>
              <a:tr h="133226">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GB" sz="600" b="0" i="0" u="none" strike="noStrike">
                          <a:solidFill>
                            <a:srgbClr val="000000"/>
                          </a:solidFill>
                          <a:effectLst/>
                          <a:latin typeface="Calibri Light" panose="020F0302020204030204" pitchFamily="34" charset="0"/>
                        </a:rPr>
                        <a:t>##</a:t>
                      </a:r>
                    </a:p>
                  </a:txBody>
                  <a:tcPr marL="4777" marR="4777" marT="4777"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gridSpan="5">
                  <a:txBody>
                    <a:bodyPr/>
                    <a:lstStyle/>
                    <a:p>
                      <a:pPr algn="ctr" fontAlgn="ctr"/>
                      <a:r>
                        <a:rPr lang="en-GB" sz="600" b="0" i="0" u="none" strike="noStrike">
                          <a:solidFill>
                            <a:srgbClr val="000000"/>
                          </a:solidFill>
                          <a:effectLst/>
                          <a:latin typeface="Calibri Light" panose="020F0302020204030204" pitchFamily="34" charset="0"/>
                        </a:rPr>
                        <a:t>4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1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8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5 Mar 2024</a:t>
                      </a:r>
                    </a:p>
                  </a:txBody>
                  <a:tcPr marL="4777" marR="4777" marT="4777"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 Apr 2024</a:t>
                      </a:r>
                    </a:p>
                  </a:txBody>
                  <a:tcPr marL="4777" marR="4777" marT="4777"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8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5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2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9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6 May 2024</a:t>
                      </a:r>
                    </a:p>
                  </a:txBody>
                  <a:tcPr marL="4777" marR="4777" marT="4777" marB="0" anchor="ctr">
                    <a:lnL>
                      <a:noFill/>
                    </a:lnL>
                    <a:lnR>
                      <a:noFill/>
                    </a:lnR>
                    <a:lnT>
                      <a:noFill/>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3 May 2024</a:t>
                      </a:r>
                    </a:p>
                  </a:txBody>
                  <a:tcPr marL="4777" marR="4777" marT="4777" marB="0" anchor="ctr">
                    <a:lnL>
                      <a:noFill/>
                    </a:lnL>
                    <a:lnR>
                      <a:noFill/>
                    </a:lnR>
                    <a:lnT>
                      <a:noFill/>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0 May 2024</a:t>
                      </a:r>
                    </a:p>
                  </a:txBody>
                  <a:tcPr marL="4777" marR="4777" marT="4777" marB="0" anchor="ctr">
                    <a:lnL>
                      <a:noFill/>
                    </a:lnL>
                    <a:lnR>
                      <a:noFill/>
                    </a:lnR>
                    <a:lnT>
                      <a:noFill/>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7 May 2024</a:t>
                      </a:r>
                    </a:p>
                  </a:txBody>
                  <a:tcPr marL="4777" marR="4777" marT="4777" marB="0" anchor="ctr">
                    <a:lnL>
                      <a:noFill/>
                    </a:lnL>
                    <a:lnR>
                      <a:noFill/>
                    </a:lnR>
                    <a:lnT>
                      <a:noFill/>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802204333"/>
                  </a:ext>
                </a:extLst>
              </a:tr>
              <a:tr h="138900">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44293084"/>
                  </a:ext>
                </a:extLst>
              </a:tr>
              <a:tr h="171972">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404040"/>
                    </a:solidFill>
                  </a:tcPr>
                </a:tc>
                <a:tc>
                  <a:txBody>
                    <a:bodyPr/>
                    <a:lstStyle/>
                    <a:p>
                      <a:pPr algn="l" fontAlgn="ctr"/>
                      <a:r>
                        <a:rPr lang="en-GB" sz="700" b="1" i="0" u="none" strike="noStrike">
                          <a:solidFill>
                            <a:srgbClr val="FFFFFF"/>
                          </a:solidFill>
                          <a:effectLst/>
                          <a:latin typeface="Calibri Light" panose="020F0302020204030204" pitchFamily="34" charset="0"/>
                        </a:rPr>
                        <a:t>Work Package (WP) and task descriptio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414042"/>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949207601"/>
                  </a:ext>
                </a:extLst>
              </a:tr>
              <a:tr h="171972">
                <a:tc>
                  <a:txBody>
                    <a:bodyPr/>
                    <a:lstStyle/>
                    <a:p>
                      <a:pPr algn="ctr" fontAlgn="ctr"/>
                      <a:r>
                        <a:rPr lang="en-GB" sz="700" b="1" i="0" u="none" strike="noStrike">
                          <a:solidFill>
                            <a:srgbClr val="FFFFFF"/>
                          </a:solidFill>
                          <a:effectLst/>
                          <a:latin typeface="Calibri Light" panose="020F0302020204030204" pitchFamily="34" charset="0"/>
                        </a:rPr>
                        <a:t>WP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700" b="1" i="0" u="none" strike="noStrike">
                          <a:solidFill>
                            <a:srgbClr val="FFFFFF"/>
                          </a:solidFill>
                          <a:effectLst/>
                          <a:latin typeface="Calibri Light" panose="020F0302020204030204" pitchFamily="34" charset="0"/>
                        </a:rPr>
                        <a:t>Engagement with local authorities and social housing provider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095892348"/>
                  </a:ext>
                </a:extLst>
              </a:tr>
              <a:tr h="138900">
                <a:tc>
                  <a:txBody>
                    <a:bodyPr/>
                    <a:lstStyle/>
                    <a:p>
                      <a:pPr algn="ctr" fontAlgn="ctr"/>
                      <a:r>
                        <a:rPr lang="en-GB" sz="600" b="0" i="0" u="none" strike="noStrike">
                          <a:solidFill>
                            <a:srgbClr val="000000"/>
                          </a:solidFill>
                          <a:effectLst/>
                          <a:latin typeface="Calibri Light" panose="020F0302020204030204" pitchFamily="34" charset="0"/>
                        </a:rPr>
                        <a:t>1.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ablish the precursors (capacity and opportunity) to engagemen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911943477"/>
                  </a:ext>
                </a:extLst>
              </a:tr>
              <a:tr h="138900">
                <a:tc>
                  <a:txBody>
                    <a:bodyPr/>
                    <a:lstStyle/>
                    <a:p>
                      <a:pPr algn="ctr" fontAlgn="ctr"/>
                      <a:r>
                        <a:rPr lang="en-GB" sz="600" b="0" i="0" u="none" strike="noStrike">
                          <a:solidFill>
                            <a:srgbClr val="000000"/>
                          </a:solidFill>
                          <a:effectLst/>
                          <a:latin typeface="Calibri Light" panose="020F0302020204030204" pitchFamily="34" charset="0"/>
                        </a:rPr>
                        <a:t>1.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dirty="0">
                          <a:solidFill>
                            <a:srgbClr val="000000"/>
                          </a:solidFill>
                          <a:effectLst/>
                          <a:latin typeface="Calibri Light" panose="020F0302020204030204" pitchFamily="34" charset="0"/>
                        </a:rPr>
                        <a:t>Develop and prioritise contacts list for </a:t>
                      </a:r>
                      <a:r>
                        <a:rPr lang="en-GB" sz="600" b="0" i="0" u="none" strike="noStrike" dirty="0" err="1">
                          <a:solidFill>
                            <a:srgbClr val="000000"/>
                          </a:solidFill>
                          <a:effectLst/>
                          <a:latin typeface="Calibri Light" panose="020F0302020204030204" pitchFamily="34" charset="0"/>
                        </a:rPr>
                        <a:t>targetted</a:t>
                      </a:r>
                      <a:r>
                        <a:rPr lang="en-GB" sz="600" b="0" i="0" u="none" strike="noStrike" dirty="0">
                          <a:solidFill>
                            <a:srgbClr val="000000"/>
                          </a:solidFill>
                          <a:effectLst/>
                          <a:latin typeface="Calibri Light" panose="020F0302020204030204" pitchFamily="34" charset="0"/>
                        </a:rPr>
                        <a:t> engagemen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89784877"/>
                  </a:ext>
                </a:extLst>
              </a:tr>
              <a:tr h="138900">
                <a:tc>
                  <a:txBody>
                    <a:bodyPr/>
                    <a:lstStyle/>
                    <a:p>
                      <a:pPr algn="ctr" fontAlgn="ctr"/>
                      <a:r>
                        <a:rPr lang="en-GB" sz="600" b="0" i="0" u="none" strike="noStrike">
                          <a:solidFill>
                            <a:srgbClr val="000000"/>
                          </a:solidFill>
                          <a:effectLst/>
                          <a:latin typeface="Calibri Light" panose="020F0302020204030204" pitchFamily="34" charset="0"/>
                        </a:rPr>
                        <a:t>1.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velop and pilot capacity building tools and process by working with LA or SHP champion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04650581"/>
                  </a:ext>
                </a:extLst>
              </a:tr>
              <a:tr h="138900">
                <a:tc>
                  <a:txBody>
                    <a:bodyPr/>
                    <a:lstStyle/>
                    <a:p>
                      <a:pPr algn="ctr" fontAlgn="ctr"/>
                      <a:r>
                        <a:rPr lang="en-GB" sz="600" b="0" i="0" u="none" strike="noStrike">
                          <a:solidFill>
                            <a:srgbClr val="000000"/>
                          </a:solidFill>
                          <a:effectLst/>
                          <a:latin typeface="Calibri Light" panose="020F0302020204030204" pitchFamily="34" charset="0"/>
                        </a:rPr>
                        <a:t>1.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Compile and analyse results into an intermediate repor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560734457"/>
                  </a:ext>
                </a:extLst>
              </a:tr>
              <a:tr h="171972">
                <a:tc>
                  <a:txBody>
                    <a:bodyPr/>
                    <a:lstStyle/>
                    <a:p>
                      <a:pPr algn="ctr" fontAlgn="ctr"/>
                      <a:r>
                        <a:rPr lang="en-GB" sz="700" b="1" i="0" u="none" strike="noStrike">
                          <a:solidFill>
                            <a:srgbClr val="FFFFFF"/>
                          </a:solidFill>
                          <a:effectLst/>
                          <a:latin typeface="Calibri Light" panose="020F0302020204030204" pitchFamily="34" charset="0"/>
                        </a:rPr>
                        <a:t>WP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700" b="1" i="0" u="none" strike="noStrike">
                          <a:solidFill>
                            <a:srgbClr val="FFFFFF"/>
                          </a:solidFill>
                          <a:effectLst/>
                          <a:latin typeface="Calibri Light" panose="020F0302020204030204" pitchFamily="34" charset="0"/>
                        </a:rPr>
                        <a:t>Establish requirements for contractual framework</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23762826"/>
                  </a:ext>
                </a:extLst>
              </a:tr>
              <a:tr h="138900">
                <a:tc>
                  <a:txBody>
                    <a:bodyPr/>
                    <a:lstStyle/>
                    <a:p>
                      <a:pPr algn="ctr" fontAlgn="ctr"/>
                      <a:r>
                        <a:rPr lang="en-GB" sz="600" b="0" i="0" u="none" strike="noStrike">
                          <a:solidFill>
                            <a:srgbClr val="000000"/>
                          </a:solidFill>
                          <a:effectLst/>
                          <a:latin typeface="Calibri Light" panose="020F0302020204030204" pitchFamily="34" charset="0"/>
                        </a:rPr>
                        <a:t>2.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Literature review of current energy efficiency flexibility producsts and commercial framework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44968208"/>
                  </a:ext>
                </a:extLst>
              </a:tr>
              <a:tr h="271188">
                <a:tc>
                  <a:txBody>
                    <a:bodyPr/>
                    <a:lstStyle/>
                    <a:p>
                      <a:pPr algn="ctr" fontAlgn="ctr"/>
                      <a:r>
                        <a:rPr lang="en-GB" sz="600" b="0" i="0" u="none" strike="noStrike">
                          <a:solidFill>
                            <a:srgbClr val="000000"/>
                          </a:solidFill>
                          <a:effectLst/>
                          <a:latin typeface="Calibri Light" panose="020F0302020204030204" pitchFamily="34" charset="0"/>
                        </a:rPr>
                        <a:t>2.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Workshops with UKPN flex &amp; data teams to gain understanding on commercial and technical/data and document barriers and prioritise opporunities for investegation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99648951"/>
                  </a:ext>
                </a:extLst>
              </a:tr>
              <a:tr h="138900">
                <a:tc>
                  <a:txBody>
                    <a:bodyPr/>
                    <a:lstStyle/>
                    <a:p>
                      <a:pPr algn="ctr" fontAlgn="ctr"/>
                      <a:r>
                        <a:rPr lang="en-GB" sz="600" b="0" i="0" u="none" strike="noStrike">
                          <a:solidFill>
                            <a:srgbClr val="000000"/>
                          </a:solidFill>
                          <a:effectLst/>
                          <a:latin typeface="Calibri Light" panose="020F0302020204030204" pitchFamily="34" charset="0"/>
                        </a:rPr>
                        <a:t>2.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ablish and design data requirements and internal process mapping</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51709442"/>
                  </a:ext>
                </a:extLst>
              </a:tr>
              <a:tr h="138900">
                <a:tc>
                  <a:txBody>
                    <a:bodyPr/>
                    <a:lstStyle/>
                    <a:p>
                      <a:pPr algn="ctr" fontAlgn="ctr"/>
                      <a:r>
                        <a:rPr lang="en-GB" sz="600" b="0" i="0" u="none" strike="noStrike">
                          <a:solidFill>
                            <a:srgbClr val="000000"/>
                          </a:solidFill>
                          <a:effectLst/>
                          <a:latin typeface="Calibri Light" panose="020F0302020204030204" pitchFamily="34" charset="0"/>
                        </a:rPr>
                        <a:t>2.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velop a proof of concept framework for direct contracting with the DSO.</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013286663"/>
                  </a:ext>
                </a:extLst>
              </a:tr>
              <a:tr h="171972">
                <a:tc>
                  <a:txBody>
                    <a:bodyPr/>
                    <a:lstStyle/>
                    <a:p>
                      <a:pPr algn="ctr" fontAlgn="ctr"/>
                      <a:r>
                        <a:rPr lang="en-GB" sz="700" b="1" i="0" u="none" strike="noStrike">
                          <a:solidFill>
                            <a:srgbClr val="FFFFFF"/>
                          </a:solidFill>
                          <a:effectLst/>
                          <a:latin typeface="Calibri Light" panose="020F0302020204030204" pitchFamily="34" charset="0"/>
                        </a:rPr>
                        <a:t>WP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ctr"/>
                      <a:r>
                        <a:rPr lang="en-GB" sz="700" b="1" i="0" u="none" strike="noStrike">
                          <a:solidFill>
                            <a:srgbClr val="FFFFFF"/>
                          </a:solidFill>
                          <a:effectLst/>
                          <a:latin typeface="Calibri Light" panose="020F0302020204030204" pitchFamily="34" charset="0"/>
                        </a:rPr>
                        <a:t>Develop partnership ecosystem framework</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514106818"/>
                  </a:ext>
                </a:extLst>
              </a:tr>
              <a:tr h="171972">
                <a:tc>
                  <a:txBody>
                    <a:bodyPr/>
                    <a:lstStyle/>
                    <a:p>
                      <a:pPr algn="ctr" fontAlgn="ctr"/>
                      <a:r>
                        <a:rPr lang="en-GB" sz="600" b="0" i="0" u="none" strike="noStrike">
                          <a:solidFill>
                            <a:srgbClr val="000000"/>
                          </a:solidFill>
                          <a:effectLst/>
                          <a:latin typeface="Calibri Light" panose="020F0302020204030204" pitchFamily="34" charset="0"/>
                        </a:rPr>
                        <a:t>3.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Undertake desktop research on available energy efficiency funding sources for LAs &amp; SHP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00474710"/>
                  </a:ext>
                </a:extLst>
              </a:tr>
              <a:tr h="171972">
                <a:tc>
                  <a:txBody>
                    <a:bodyPr/>
                    <a:lstStyle/>
                    <a:p>
                      <a:pPr algn="ctr" fontAlgn="ctr"/>
                      <a:r>
                        <a:rPr lang="en-GB" sz="600" b="0" i="0" u="none" strike="noStrike">
                          <a:solidFill>
                            <a:srgbClr val="000000"/>
                          </a:solidFill>
                          <a:effectLst/>
                          <a:latin typeface="Calibri Light" panose="020F0302020204030204" pitchFamily="34" charset="0"/>
                        </a:rPr>
                        <a:t>3.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sign a partnership ecosystem framework across the Energy Efficiency Flexibility Value Chai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64159698"/>
                  </a:ext>
                </a:extLst>
              </a:tr>
              <a:tr h="171972">
                <a:tc>
                  <a:txBody>
                    <a:bodyPr/>
                    <a:lstStyle/>
                    <a:p>
                      <a:pPr algn="ctr" fontAlgn="ctr"/>
                      <a:r>
                        <a:rPr lang="en-GB" sz="700" b="1" i="0" u="none" strike="noStrike">
                          <a:solidFill>
                            <a:srgbClr val="FFFFFF"/>
                          </a:solidFill>
                          <a:effectLst/>
                          <a:latin typeface="Calibri Light" panose="020F0302020204030204" pitchFamily="34" charset="0"/>
                        </a:rPr>
                        <a:t>WP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ctr"/>
                      <a:r>
                        <a:rPr lang="en-GB" sz="700" b="1" i="0" u="none" strike="noStrike">
                          <a:solidFill>
                            <a:srgbClr val="FFFFFF"/>
                          </a:solidFill>
                          <a:effectLst/>
                          <a:latin typeface="Calibri Light" panose="020F0302020204030204" pitchFamily="34" charset="0"/>
                        </a:rPr>
                        <a:t>Assess the benefits and opportunity to scale</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747961119"/>
                  </a:ext>
                </a:extLst>
              </a:tr>
              <a:tr h="171972">
                <a:tc>
                  <a:txBody>
                    <a:bodyPr/>
                    <a:lstStyle/>
                    <a:p>
                      <a:pPr algn="ctr" fontAlgn="ctr"/>
                      <a:r>
                        <a:rPr lang="en-GB" sz="600" b="0" i="0" u="none" strike="noStrike">
                          <a:solidFill>
                            <a:srgbClr val="000000"/>
                          </a:solidFill>
                          <a:effectLst/>
                          <a:latin typeface="Calibri Light" panose="020F0302020204030204" pitchFamily="34" charset="0"/>
                        </a:rPr>
                        <a:t>4.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imate the volume of additional flexibility that can be achieved by Flex-Direct approach</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969286587"/>
                  </a:ext>
                </a:extLst>
              </a:tr>
              <a:tr h="171972">
                <a:tc>
                  <a:txBody>
                    <a:bodyPr/>
                    <a:lstStyle/>
                    <a:p>
                      <a:pPr algn="ctr" fontAlgn="ctr"/>
                      <a:r>
                        <a:rPr lang="en-GB" sz="600" b="0" i="0" u="none" strike="noStrike">
                          <a:solidFill>
                            <a:srgbClr val="000000"/>
                          </a:solidFill>
                          <a:effectLst/>
                          <a:latin typeface="Calibri Light" panose="020F0302020204030204" pitchFamily="34" charset="0"/>
                        </a:rPr>
                        <a:t>4.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Simulate the future GB energy system with and without Flex-Direct solutio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46678125"/>
                  </a:ext>
                </a:extLst>
              </a:tr>
              <a:tr h="171972">
                <a:tc>
                  <a:txBody>
                    <a:bodyPr/>
                    <a:lstStyle/>
                    <a:p>
                      <a:pPr algn="ctr" fontAlgn="ctr"/>
                      <a:r>
                        <a:rPr lang="en-GB" sz="600" b="0" i="0" u="none" strike="noStrike">
                          <a:solidFill>
                            <a:srgbClr val="000000"/>
                          </a:solidFill>
                          <a:effectLst/>
                          <a:latin typeface="Calibri Light" panose="020F0302020204030204" pitchFamily="34" charset="0"/>
                        </a:rPr>
                        <a:t>4.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valuate the whole-system gross benefits of the Flex-Direct solutions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517767068"/>
                  </a:ext>
                </a:extLst>
              </a:tr>
              <a:tr h="171972">
                <a:tc>
                  <a:txBody>
                    <a:bodyPr/>
                    <a:lstStyle/>
                    <a:p>
                      <a:pPr algn="ctr" fontAlgn="ctr"/>
                      <a:r>
                        <a:rPr lang="en-GB" sz="600" b="0" i="0" u="none" strike="noStrike">
                          <a:solidFill>
                            <a:srgbClr val="000000"/>
                          </a:solidFill>
                          <a:effectLst/>
                          <a:latin typeface="Calibri Light" panose="020F0302020204030204" pitchFamily="34" charset="0"/>
                        </a:rPr>
                        <a:t>4.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Analyse the implications to the system capacity and other flexibility requirements.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99876037"/>
                  </a:ext>
                </a:extLst>
              </a:tr>
              <a:tr h="171972">
                <a:tc>
                  <a:txBody>
                    <a:bodyPr/>
                    <a:lstStyle/>
                    <a:p>
                      <a:pPr algn="ctr" fontAlgn="ctr"/>
                      <a:r>
                        <a:rPr lang="en-GB" sz="700" b="1" i="0" u="none" strike="noStrike">
                          <a:solidFill>
                            <a:srgbClr val="FFFFFF"/>
                          </a:solidFill>
                          <a:effectLst/>
                          <a:latin typeface="Calibri Light" panose="020F0302020204030204" pitchFamily="34" charset="0"/>
                        </a:rPr>
                        <a:t>WP5</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ctr"/>
                      <a:r>
                        <a:rPr lang="en-GB" sz="700" b="1" i="0" u="none" strike="noStrike">
                          <a:solidFill>
                            <a:srgbClr val="FFFFFF"/>
                          </a:solidFill>
                          <a:effectLst/>
                          <a:latin typeface="Calibri Light" panose="020F0302020204030204" pitchFamily="34" charset="0"/>
                        </a:rPr>
                        <a:t>Project Managemen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21995595"/>
                  </a:ext>
                </a:extLst>
              </a:tr>
              <a:tr h="171972">
                <a:tc>
                  <a:txBody>
                    <a:bodyPr/>
                    <a:lstStyle/>
                    <a:p>
                      <a:pPr algn="ctr" fontAlgn="ctr"/>
                      <a:r>
                        <a:rPr lang="en-GB" sz="600" b="0" i="0" u="none" strike="noStrike">
                          <a:solidFill>
                            <a:srgbClr val="000000"/>
                          </a:solidFill>
                          <a:effectLst/>
                          <a:latin typeface="Calibri Light" panose="020F0302020204030204" pitchFamily="34" charset="0"/>
                        </a:rPr>
                        <a:t>5.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Plan (identify and agree on key milestones under each workstream, risks, dependencies, and review proces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3414400241"/>
                  </a:ext>
                </a:extLst>
              </a:tr>
              <a:tr h="171972">
                <a:tc>
                  <a:txBody>
                    <a:bodyPr/>
                    <a:lstStyle/>
                    <a:p>
                      <a:pPr algn="ctr" fontAlgn="ctr"/>
                      <a:r>
                        <a:rPr lang="en-GB" sz="600" b="0" i="0" u="none" strike="noStrike">
                          <a:solidFill>
                            <a:srgbClr val="000000"/>
                          </a:solidFill>
                          <a:effectLst/>
                          <a:latin typeface="Calibri Light" panose="020F0302020204030204" pitchFamily="34" charset="0"/>
                        </a:rPr>
                        <a:t>5.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Monitor progress and learning with fortnightly team meetings, Show &amp; Tell webinar and end of phase meeting</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extLst>
                  <a:ext uri="{0D108BD9-81ED-4DB2-BD59-A6C34878D82A}">
                    <a16:rowId xmlns:a16="http://schemas.microsoft.com/office/drawing/2014/main" val="3974549580"/>
                  </a:ext>
                </a:extLst>
              </a:tr>
              <a:tr h="171972">
                <a:tc>
                  <a:txBody>
                    <a:bodyPr/>
                    <a:lstStyle/>
                    <a:p>
                      <a:pPr algn="ctr" fontAlgn="ctr"/>
                      <a:r>
                        <a:rPr lang="en-GB" sz="600" b="0" i="0" u="none" strike="noStrike">
                          <a:solidFill>
                            <a:srgbClr val="000000"/>
                          </a:solidFill>
                          <a:effectLst/>
                          <a:latin typeface="Calibri Light" panose="020F0302020204030204" pitchFamily="34" charset="0"/>
                        </a:rPr>
                        <a:t>5.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Produce end of phase reporting</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dirty="0">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extLst>
                  <a:ext uri="{0D108BD9-81ED-4DB2-BD59-A6C34878D82A}">
                    <a16:rowId xmlns:a16="http://schemas.microsoft.com/office/drawing/2014/main" val="1916100098"/>
                  </a:ext>
                </a:extLst>
              </a:tr>
            </a:tbl>
          </a:graphicData>
        </a:graphic>
      </p:graphicFrame>
      <p:sp>
        <p:nvSpPr>
          <p:cNvPr id="13" name="Flowchart: Decision 12">
            <a:extLst>
              <a:ext uri="{FF2B5EF4-FFF2-40B4-BE49-F238E27FC236}">
                <a16:creationId xmlns:a16="http://schemas.microsoft.com/office/drawing/2014/main" id="{DF587340-9810-3EC1-021E-F51120CB97AD}"/>
              </a:ext>
            </a:extLst>
          </p:cNvPr>
          <p:cNvSpPr/>
          <p:nvPr/>
        </p:nvSpPr>
        <p:spPr>
          <a:xfrm>
            <a:off x="11394421" y="5185793"/>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4" name="Flowchart: Decision 13">
            <a:extLst>
              <a:ext uri="{FF2B5EF4-FFF2-40B4-BE49-F238E27FC236}">
                <a16:creationId xmlns:a16="http://schemas.microsoft.com/office/drawing/2014/main" id="{92645A9F-2A83-6A62-CB77-F4B76D20A226}"/>
              </a:ext>
            </a:extLst>
          </p:cNvPr>
          <p:cNvSpPr/>
          <p:nvPr/>
        </p:nvSpPr>
        <p:spPr>
          <a:xfrm>
            <a:off x="9285809" y="3320578"/>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5" name="Flowchart: Decision 14">
            <a:extLst>
              <a:ext uri="{FF2B5EF4-FFF2-40B4-BE49-F238E27FC236}">
                <a16:creationId xmlns:a16="http://schemas.microsoft.com/office/drawing/2014/main" id="{C98B4FB4-11A0-5746-7A23-534C85DD6B74}"/>
              </a:ext>
            </a:extLst>
          </p:cNvPr>
          <p:cNvSpPr/>
          <p:nvPr/>
        </p:nvSpPr>
        <p:spPr>
          <a:xfrm>
            <a:off x="11394421" y="5386300"/>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6" name="Flowchart: Decision 15">
            <a:extLst>
              <a:ext uri="{FF2B5EF4-FFF2-40B4-BE49-F238E27FC236}">
                <a16:creationId xmlns:a16="http://schemas.microsoft.com/office/drawing/2014/main" id="{34F1357B-4BC9-78CF-A05B-1BEBC57D0169}"/>
              </a:ext>
            </a:extLst>
          </p:cNvPr>
          <p:cNvSpPr/>
          <p:nvPr/>
        </p:nvSpPr>
        <p:spPr>
          <a:xfrm>
            <a:off x="10240229" y="5186497"/>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7" name="Flowchart: Decision 16">
            <a:extLst>
              <a:ext uri="{FF2B5EF4-FFF2-40B4-BE49-F238E27FC236}">
                <a16:creationId xmlns:a16="http://schemas.microsoft.com/office/drawing/2014/main" id="{AEA527D1-D88B-C99A-6780-4040A90BDD3B}"/>
              </a:ext>
            </a:extLst>
          </p:cNvPr>
          <p:cNvSpPr/>
          <p:nvPr/>
        </p:nvSpPr>
        <p:spPr>
          <a:xfrm>
            <a:off x="9262206" y="4590214"/>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9" name="Flowchart: Decision 18">
            <a:extLst>
              <a:ext uri="{FF2B5EF4-FFF2-40B4-BE49-F238E27FC236}">
                <a16:creationId xmlns:a16="http://schemas.microsoft.com/office/drawing/2014/main" id="{04CC2D3A-9376-99BD-3C4B-E8136E4729D8}"/>
              </a:ext>
            </a:extLst>
          </p:cNvPr>
          <p:cNvSpPr/>
          <p:nvPr/>
        </p:nvSpPr>
        <p:spPr>
          <a:xfrm>
            <a:off x="8960295" y="2462402"/>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Flowchart: Decision 19">
            <a:extLst>
              <a:ext uri="{FF2B5EF4-FFF2-40B4-BE49-F238E27FC236}">
                <a16:creationId xmlns:a16="http://schemas.microsoft.com/office/drawing/2014/main" id="{BF48121B-C68C-F3FC-9331-232C5E9B155E}"/>
              </a:ext>
            </a:extLst>
          </p:cNvPr>
          <p:cNvSpPr/>
          <p:nvPr/>
        </p:nvSpPr>
        <p:spPr>
          <a:xfrm>
            <a:off x="5552749" y="2765723"/>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1" name="Flowchart: Decision 20">
            <a:extLst>
              <a:ext uri="{FF2B5EF4-FFF2-40B4-BE49-F238E27FC236}">
                <a16:creationId xmlns:a16="http://schemas.microsoft.com/office/drawing/2014/main" id="{639B080C-C5D2-614B-3E04-5ECF4FD9B6CE}"/>
              </a:ext>
            </a:extLst>
          </p:cNvPr>
          <p:cNvSpPr/>
          <p:nvPr/>
        </p:nvSpPr>
        <p:spPr>
          <a:xfrm>
            <a:off x="9262206" y="3811462"/>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Tree>
    <p:extLst>
      <p:ext uri="{BB962C8B-B14F-4D97-AF65-F5344CB8AC3E}">
        <p14:creationId xmlns:p14="http://schemas.microsoft.com/office/powerpoint/2010/main" val="3245663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a:latin typeface="Arial"/>
                <a:cs typeface="Arial"/>
              </a:rPr>
              <a:t>Project Plan - Actual</a:t>
            </a:r>
          </a:p>
        </p:txBody>
      </p:sp>
      <p:graphicFrame>
        <p:nvGraphicFramePr>
          <p:cNvPr id="4" name="Table 3">
            <a:extLst>
              <a:ext uri="{FF2B5EF4-FFF2-40B4-BE49-F238E27FC236}">
                <a16:creationId xmlns:a16="http://schemas.microsoft.com/office/drawing/2014/main" id="{1D80F729-8DAC-AB05-DA60-EB42AA740FB3}"/>
              </a:ext>
            </a:extLst>
          </p:cNvPr>
          <p:cNvGraphicFramePr>
            <a:graphicFrameLocks noGrp="1"/>
          </p:cNvGraphicFramePr>
          <p:nvPr>
            <p:extLst>
              <p:ext uri="{D42A27DB-BD31-4B8C-83A1-F6EECF244321}">
                <p14:modId xmlns:p14="http://schemas.microsoft.com/office/powerpoint/2010/main" val="3973828030"/>
              </p:ext>
            </p:extLst>
          </p:nvPr>
        </p:nvGraphicFramePr>
        <p:xfrm>
          <a:off x="381740" y="1322774"/>
          <a:ext cx="10972055" cy="4207486"/>
        </p:xfrm>
        <a:graphic>
          <a:graphicData uri="http://schemas.openxmlformats.org/drawingml/2006/table">
            <a:tbl>
              <a:tblPr/>
              <a:tblGrid>
                <a:gridCol w="322116">
                  <a:extLst>
                    <a:ext uri="{9D8B030D-6E8A-4147-A177-3AD203B41FA5}">
                      <a16:colId xmlns:a16="http://schemas.microsoft.com/office/drawing/2014/main" val="3306698713"/>
                    </a:ext>
                  </a:extLst>
                </a:gridCol>
                <a:gridCol w="3670779">
                  <a:extLst>
                    <a:ext uri="{9D8B030D-6E8A-4147-A177-3AD203B41FA5}">
                      <a16:colId xmlns:a16="http://schemas.microsoft.com/office/drawing/2014/main" val="2684624928"/>
                    </a:ext>
                  </a:extLst>
                </a:gridCol>
                <a:gridCol w="107372">
                  <a:extLst>
                    <a:ext uri="{9D8B030D-6E8A-4147-A177-3AD203B41FA5}">
                      <a16:colId xmlns:a16="http://schemas.microsoft.com/office/drawing/2014/main" val="3166957678"/>
                    </a:ext>
                  </a:extLst>
                </a:gridCol>
                <a:gridCol w="105694">
                  <a:extLst>
                    <a:ext uri="{9D8B030D-6E8A-4147-A177-3AD203B41FA5}">
                      <a16:colId xmlns:a16="http://schemas.microsoft.com/office/drawing/2014/main" val="3411381383"/>
                    </a:ext>
                  </a:extLst>
                </a:gridCol>
                <a:gridCol w="105694">
                  <a:extLst>
                    <a:ext uri="{9D8B030D-6E8A-4147-A177-3AD203B41FA5}">
                      <a16:colId xmlns:a16="http://schemas.microsoft.com/office/drawing/2014/main" val="3906531690"/>
                    </a:ext>
                  </a:extLst>
                </a:gridCol>
                <a:gridCol w="105694">
                  <a:extLst>
                    <a:ext uri="{9D8B030D-6E8A-4147-A177-3AD203B41FA5}">
                      <a16:colId xmlns:a16="http://schemas.microsoft.com/office/drawing/2014/main" val="2228739417"/>
                    </a:ext>
                  </a:extLst>
                </a:gridCol>
                <a:gridCol w="105694">
                  <a:extLst>
                    <a:ext uri="{9D8B030D-6E8A-4147-A177-3AD203B41FA5}">
                      <a16:colId xmlns:a16="http://schemas.microsoft.com/office/drawing/2014/main" val="2264050592"/>
                    </a:ext>
                  </a:extLst>
                </a:gridCol>
                <a:gridCol w="105694">
                  <a:extLst>
                    <a:ext uri="{9D8B030D-6E8A-4147-A177-3AD203B41FA5}">
                      <a16:colId xmlns:a16="http://schemas.microsoft.com/office/drawing/2014/main" val="2249873510"/>
                    </a:ext>
                  </a:extLst>
                </a:gridCol>
                <a:gridCol w="105694">
                  <a:extLst>
                    <a:ext uri="{9D8B030D-6E8A-4147-A177-3AD203B41FA5}">
                      <a16:colId xmlns:a16="http://schemas.microsoft.com/office/drawing/2014/main" val="886545457"/>
                    </a:ext>
                  </a:extLst>
                </a:gridCol>
                <a:gridCol w="105694">
                  <a:extLst>
                    <a:ext uri="{9D8B030D-6E8A-4147-A177-3AD203B41FA5}">
                      <a16:colId xmlns:a16="http://schemas.microsoft.com/office/drawing/2014/main" val="1827992669"/>
                    </a:ext>
                  </a:extLst>
                </a:gridCol>
                <a:gridCol w="105694">
                  <a:extLst>
                    <a:ext uri="{9D8B030D-6E8A-4147-A177-3AD203B41FA5}">
                      <a16:colId xmlns:a16="http://schemas.microsoft.com/office/drawing/2014/main" val="453598324"/>
                    </a:ext>
                  </a:extLst>
                </a:gridCol>
                <a:gridCol w="105694">
                  <a:extLst>
                    <a:ext uri="{9D8B030D-6E8A-4147-A177-3AD203B41FA5}">
                      <a16:colId xmlns:a16="http://schemas.microsoft.com/office/drawing/2014/main" val="1901860285"/>
                    </a:ext>
                  </a:extLst>
                </a:gridCol>
                <a:gridCol w="105694">
                  <a:extLst>
                    <a:ext uri="{9D8B030D-6E8A-4147-A177-3AD203B41FA5}">
                      <a16:colId xmlns:a16="http://schemas.microsoft.com/office/drawing/2014/main" val="1174634948"/>
                    </a:ext>
                  </a:extLst>
                </a:gridCol>
                <a:gridCol w="105694">
                  <a:extLst>
                    <a:ext uri="{9D8B030D-6E8A-4147-A177-3AD203B41FA5}">
                      <a16:colId xmlns:a16="http://schemas.microsoft.com/office/drawing/2014/main" val="1353422862"/>
                    </a:ext>
                  </a:extLst>
                </a:gridCol>
                <a:gridCol w="105694">
                  <a:extLst>
                    <a:ext uri="{9D8B030D-6E8A-4147-A177-3AD203B41FA5}">
                      <a16:colId xmlns:a16="http://schemas.microsoft.com/office/drawing/2014/main" val="619250956"/>
                    </a:ext>
                  </a:extLst>
                </a:gridCol>
                <a:gridCol w="105694">
                  <a:extLst>
                    <a:ext uri="{9D8B030D-6E8A-4147-A177-3AD203B41FA5}">
                      <a16:colId xmlns:a16="http://schemas.microsoft.com/office/drawing/2014/main" val="2958748298"/>
                    </a:ext>
                  </a:extLst>
                </a:gridCol>
                <a:gridCol w="105694">
                  <a:extLst>
                    <a:ext uri="{9D8B030D-6E8A-4147-A177-3AD203B41FA5}">
                      <a16:colId xmlns:a16="http://schemas.microsoft.com/office/drawing/2014/main" val="1628702762"/>
                    </a:ext>
                  </a:extLst>
                </a:gridCol>
                <a:gridCol w="105694">
                  <a:extLst>
                    <a:ext uri="{9D8B030D-6E8A-4147-A177-3AD203B41FA5}">
                      <a16:colId xmlns:a16="http://schemas.microsoft.com/office/drawing/2014/main" val="2582109629"/>
                    </a:ext>
                  </a:extLst>
                </a:gridCol>
                <a:gridCol w="105694">
                  <a:extLst>
                    <a:ext uri="{9D8B030D-6E8A-4147-A177-3AD203B41FA5}">
                      <a16:colId xmlns:a16="http://schemas.microsoft.com/office/drawing/2014/main" val="2777140797"/>
                    </a:ext>
                  </a:extLst>
                </a:gridCol>
                <a:gridCol w="105694">
                  <a:extLst>
                    <a:ext uri="{9D8B030D-6E8A-4147-A177-3AD203B41FA5}">
                      <a16:colId xmlns:a16="http://schemas.microsoft.com/office/drawing/2014/main" val="1865313047"/>
                    </a:ext>
                  </a:extLst>
                </a:gridCol>
                <a:gridCol w="105694">
                  <a:extLst>
                    <a:ext uri="{9D8B030D-6E8A-4147-A177-3AD203B41FA5}">
                      <a16:colId xmlns:a16="http://schemas.microsoft.com/office/drawing/2014/main" val="2424142665"/>
                    </a:ext>
                  </a:extLst>
                </a:gridCol>
                <a:gridCol w="105694">
                  <a:extLst>
                    <a:ext uri="{9D8B030D-6E8A-4147-A177-3AD203B41FA5}">
                      <a16:colId xmlns:a16="http://schemas.microsoft.com/office/drawing/2014/main" val="3178346848"/>
                    </a:ext>
                  </a:extLst>
                </a:gridCol>
                <a:gridCol w="105694">
                  <a:extLst>
                    <a:ext uri="{9D8B030D-6E8A-4147-A177-3AD203B41FA5}">
                      <a16:colId xmlns:a16="http://schemas.microsoft.com/office/drawing/2014/main" val="955520170"/>
                    </a:ext>
                  </a:extLst>
                </a:gridCol>
                <a:gridCol w="105694">
                  <a:extLst>
                    <a:ext uri="{9D8B030D-6E8A-4147-A177-3AD203B41FA5}">
                      <a16:colId xmlns:a16="http://schemas.microsoft.com/office/drawing/2014/main" val="638031411"/>
                    </a:ext>
                  </a:extLst>
                </a:gridCol>
                <a:gridCol w="105694">
                  <a:extLst>
                    <a:ext uri="{9D8B030D-6E8A-4147-A177-3AD203B41FA5}">
                      <a16:colId xmlns:a16="http://schemas.microsoft.com/office/drawing/2014/main" val="3750446891"/>
                    </a:ext>
                  </a:extLst>
                </a:gridCol>
                <a:gridCol w="105694">
                  <a:extLst>
                    <a:ext uri="{9D8B030D-6E8A-4147-A177-3AD203B41FA5}">
                      <a16:colId xmlns:a16="http://schemas.microsoft.com/office/drawing/2014/main" val="3116307910"/>
                    </a:ext>
                  </a:extLst>
                </a:gridCol>
                <a:gridCol w="105694">
                  <a:extLst>
                    <a:ext uri="{9D8B030D-6E8A-4147-A177-3AD203B41FA5}">
                      <a16:colId xmlns:a16="http://schemas.microsoft.com/office/drawing/2014/main" val="1668621879"/>
                    </a:ext>
                  </a:extLst>
                </a:gridCol>
                <a:gridCol w="105694">
                  <a:extLst>
                    <a:ext uri="{9D8B030D-6E8A-4147-A177-3AD203B41FA5}">
                      <a16:colId xmlns:a16="http://schemas.microsoft.com/office/drawing/2014/main" val="3660430362"/>
                    </a:ext>
                  </a:extLst>
                </a:gridCol>
                <a:gridCol w="105694">
                  <a:extLst>
                    <a:ext uri="{9D8B030D-6E8A-4147-A177-3AD203B41FA5}">
                      <a16:colId xmlns:a16="http://schemas.microsoft.com/office/drawing/2014/main" val="1572960904"/>
                    </a:ext>
                  </a:extLst>
                </a:gridCol>
                <a:gridCol w="105694">
                  <a:extLst>
                    <a:ext uri="{9D8B030D-6E8A-4147-A177-3AD203B41FA5}">
                      <a16:colId xmlns:a16="http://schemas.microsoft.com/office/drawing/2014/main" val="1978521698"/>
                    </a:ext>
                  </a:extLst>
                </a:gridCol>
                <a:gridCol w="105694">
                  <a:extLst>
                    <a:ext uri="{9D8B030D-6E8A-4147-A177-3AD203B41FA5}">
                      <a16:colId xmlns:a16="http://schemas.microsoft.com/office/drawing/2014/main" val="4008673232"/>
                    </a:ext>
                  </a:extLst>
                </a:gridCol>
                <a:gridCol w="105694">
                  <a:extLst>
                    <a:ext uri="{9D8B030D-6E8A-4147-A177-3AD203B41FA5}">
                      <a16:colId xmlns:a16="http://schemas.microsoft.com/office/drawing/2014/main" val="3946509065"/>
                    </a:ext>
                  </a:extLst>
                </a:gridCol>
                <a:gridCol w="105694">
                  <a:extLst>
                    <a:ext uri="{9D8B030D-6E8A-4147-A177-3AD203B41FA5}">
                      <a16:colId xmlns:a16="http://schemas.microsoft.com/office/drawing/2014/main" val="2070426304"/>
                    </a:ext>
                  </a:extLst>
                </a:gridCol>
                <a:gridCol w="105694">
                  <a:extLst>
                    <a:ext uri="{9D8B030D-6E8A-4147-A177-3AD203B41FA5}">
                      <a16:colId xmlns:a16="http://schemas.microsoft.com/office/drawing/2014/main" val="2091569702"/>
                    </a:ext>
                  </a:extLst>
                </a:gridCol>
                <a:gridCol w="105694">
                  <a:extLst>
                    <a:ext uri="{9D8B030D-6E8A-4147-A177-3AD203B41FA5}">
                      <a16:colId xmlns:a16="http://schemas.microsoft.com/office/drawing/2014/main" val="1691085124"/>
                    </a:ext>
                  </a:extLst>
                </a:gridCol>
                <a:gridCol w="105694">
                  <a:extLst>
                    <a:ext uri="{9D8B030D-6E8A-4147-A177-3AD203B41FA5}">
                      <a16:colId xmlns:a16="http://schemas.microsoft.com/office/drawing/2014/main" val="550135432"/>
                    </a:ext>
                  </a:extLst>
                </a:gridCol>
                <a:gridCol w="105694">
                  <a:extLst>
                    <a:ext uri="{9D8B030D-6E8A-4147-A177-3AD203B41FA5}">
                      <a16:colId xmlns:a16="http://schemas.microsoft.com/office/drawing/2014/main" val="2662446037"/>
                    </a:ext>
                  </a:extLst>
                </a:gridCol>
                <a:gridCol w="105694">
                  <a:extLst>
                    <a:ext uri="{9D8B030D-6E8A-4147-A177-3AD203B41FA5}">
                      <a16:colId xmlns:a16="http://schemas.microsoft.com/office/drawing/2014/main" val="108230227"/>
                    </a:ext>
                  </a:extLst>
                </a:gridCol>
                <a:gridCol w="105694">
                  <a:extLst>
                    <a:ext uri="{9D8B030D-6E8A-4147-A177-3AD203B41FA5}">
                      <a16:colId xmlns:a16="http://schemas.microsoft.com/office/drawing/2014/main" val="3035388915"/>
                    </a:ext>
                  </a:extLst>
                </a:gridCol>
                <a:gridCol w="105694">
                  <a:extLst>
                    <a:ext uri="{9D8B030D-6E8A-4147-A177-3AD203B41FA5}">
                      <a16:colId xmlns:a16="http://schemas.microsoft.com/office/drawing/2014/main" val="179787281"/>
                    </a:ext>
                  </a:extLst>
                </a:gridCol>
                <a:gridCol w="105694">
                  <a:extLst>
                    <a:ext uri="{9D8B030D-6E8A-4147-A177-3AD203B41FA5}">
                      <a16:colId xmlns:a16="http://schemas.microsoft.com/office/drawing/2014/main" val="1635543508"/>
                    </a:ext>
                  </a:extLst>
                </a:gridCol>
                <a:gridCol w="105694">
                  <a:extLst>
                    <a:ext uri="{9D8B030D-6E8A-4147-A177-3AD203B41FA5}">
                      <a16:colId xmlns:a16="http://schemas.microsoft.com/office/drawing/2014/main" val="477495973"/>
                    </a:ext>
                  </a:extLst>
                </a:gridCol>
                <a:gridCol w="105694">
                  <a:extLst>
                    <a:ext uri="{9D8B030D-6E8A-4147-A177-3AD203B41FA5}">
                      <a16:colId xmlns:a16="http://schemas.microsoft.com/office/drawing/2014/main" val="1815797516"/>
                    </a:ext>
                  </a:extLst>
                </a:gridCol>
                <a:gridCol w="105694">
                  <a:extLst>
                    <a:ext uri="{9D8B030D-6E8A-4147-A177-3AD203B41FA5}">
                      <a16:colId xmlns:a16="http://schemas.microsoft.com/office/drawing/2014/main" val="2292113072"/>
                    </a:ext>
                  </a:extLst>
                </a:gridCol>
                <a:gridCol w="105694">
                  <a:extLst>
                    <a:ext uri="{9D8B030D-6E8A-4147-A177-3AD203B41FA5}">
                      <a16:colId xmlns:a16="http://schemas.microsoft.com/office/drawing/2014/main" val="229511648"/>
                    </a:ext>
                  </a:extLst>
                </a:gridCol>
                <a:gridCol w="105694">
                  <a:extLst>
                    <a:ext uri="{9D8B030D-6E8A-4147-A177-3AD203B41FA5}">
                      <a16:colId xmlns:a16="http://schemas.microsoft.com/office/drawing/2014/main" val="1350664077"/>
                    </a:ext>
                  </a:extLst>
                </a:gridCol>
                <a:gridCol w="105694">
                  <a:extLst>
                    <a:ext uri="{9D8B030D-6E8A-4147-A177-3AD203B41FA5}">
                      <a16:colId xmlns:a16="http://schemas.microsoft.com/office/drawing/2014/main" val="3861810999"/>
                    </a:ext>
                  </a:extLst>
                </a:gridCol>
                <a:gridCol w="105694">
                  <a:extLst>
                    <a:ext uri="{9D8B030D-6E8A-4147-A177-3AD203B41FA5}">
                      <a16:colId xmlns:a16="http://schemas.microsoft.com/office/drawing/2014/main" val="599967410"/>
                    </a:ext>
                  </a:extLst>
                </a:gridCol>
                <a:gridCol w="105694">
                  <a:extLst>
                    <a:ext uri="{9D8B030D-6E8A-4147-A177-3AD203B41FA5}">
                      <a16:colId xmlns:a16="http://schemas.microsoft.com/office/drawing/2014/main" val="1346448431"/>
                    </a:ext>
                  </a:extLst>
                </a:gridCol>
                <a:gridCol w="105694">
                  <a:extLst>
                    <a:ext uri="{9D8B030D-6E8A-4147-A177-3AD203B41FA5}">
                      <a16:colId xmlns:a16="http://schemas.microsoft.com/office/drawing/2014/main" val="3830663813"/>
                    </a:ext>
                  </a:extLst>
                </a:gridCol>
                <a:gridCol w="105694">
                  <a:extLst>
                    <a:ext uri="{9D8B030D-6E8A-4147-A177-3AD203B41FA5}">
                      <a16:colId xmlns:a16="http://schemas.microsoft.com/office/drawing/2014/main" val="262975421"/>
                    </a:ext>
                  </a:extLst>
                </a:gridCol>
                <a:gridCol w="105694">
                  <a:extLst>
                    <a:ext uri="{9D8B030D-6E8A-4147-A177-3AD203B41FA5}">
                      <a16:colId xmlns:a16="http://schemas.microsoft.com/office/drawing/2014/main" val="279389177"/>
                    </a:ext>
                  </a:extLst>
                </a:gridCol>
                <a:gridCol w="105694">
                  <a:extLst>
                    <a:ext uri="{9D8B030D-6E8A-4147-A177-3AD203B41FA5}">
                      <a16:colId xmlns:a16="http://schemas.microsoft.com/office/drawing/2014/main" val="3392146708"/>
                    </a:ext>
                  </a:extLst>
                </a:gridCol>
                <a:gridCol w="105694">
                  <a:extLst>
                    <a:ext uri="{9D8B030D-6E8A-4147-A177-3AD203B41FA5}">
                      <a16:colId xmlns:a16="http://schemas.microsoft.com/office/drawing/2014/main" val="4178928750"/>
                    </a:ext>
                  </a:extLst>
                </a:gridCol>
                <a:gridCol w="105694">
                  <a:extLst>
                    <a:ext uri="{9D8B030D-6E8A-4147-A177-3AD203B41FA5}">
                      <a16:colId xmlns:a16="http://schemas.microsoft.com/office/drawing/2014/main" val="4171410967"/>
                    </a:ext>
                  </a:extLst>
                </a:gridCol>
                <a:gridCol w="105694">
                  <a:extLst>
                    <a:ext uri="{9D8B030D-6E8A-4147-A177-3AD203B41FA5}">
                      <a16:colId xmlns:a16="http://schemas.microsoft.com/office/drawing/2014/main" val="1089226414"/>
                    </a:ext>
                  </a:extLst>
                </a:gridCol>
                <a:gridCol w="105694">
                  <a:extLst>
                    <a:ext uri="{9D8B030D-6E8A-4147-A177-3AD203B41FA5}">
                      <a16:colId xmlns:a16="http://schemas.microsoft.com/office/drawing/2014/main" val="3154512985"/>
                    </a:ext>
                  </a:extLst>
                </a:gridCol>
                <a:gridCol w="105694">
                  <a:extLst>
                    <a:ext uri="{9D8B030D-6E8A-4147-A177-3AD203B41FA5}">
                      <a16:colId xmlns:a16="http://schemas.microsoft.com/office/drawing/2014/main" val="3163003598"/>
                    </a:ext>
                  </a:extLst>
                </a:gridCol>
                <a:gridCol w="105694">
                  <a:extLst>
                    <a:ext uri="{9D8B030D-6E8A-4147-A177-3AD203B41FA5}">
                      <a16:colId xmlns:a16="http://schemas.microsoft.com/office/drawing/2014/main" val="3472767243"/>
                    </a:ext>
                  </a:extLst>
                </a:gridCol>
                <a:gridCol w="105694">
                  <a:extLst>
                    <a:ext uri="{9D8B030D-6E8A-4147-A177-3AD203B41FA5}">
                      <a16:colId xmlns:a16="http://schemas.microsoft.com/office/drawing/2014/main" val="3300324494"/>
                    </a:ext>
                  </a:extLst>
                </a:gridCol>
                <a:gridCol w="105694">
                  <a:extLst>
                    <a:ext uri="{9D8B030D-6E8A-4147-A177-3AD203B41FA5}">
                      <a16:colId xmlns:a16="http://schemas.microsoft.com/office/drawing/2014/main" val="2806379047"/>
                    </a:ext>
                  </a:extLst>
                </a:gridCol>
                <a:gridCol w="105694">
                  <a:extLst>
                    <a:ext uri="{9D8B030D-6E8A-4147-A177-3AD203B41FA5}">
                      <a16:colId xmlns:a16="http://schemas.microsoft.com/office/drawing/2014/main" val="1749146490"/>
                    </a:ext>
                  </a:extLst>
                </a:gridCol>
                <a:gridCol w="105694">
                  <a:extLst>
                    <a:ext uri="{9D8B030D-6E8A-4147-A177-3AD203B41FA5}">
                      <a16:colId xmlns:a16="http://schemas.microsoft.com/office/drawing/2014/main" val="1083624933"/>
                    </a:ext>
                  </a:extLst>
                </a:gridCol>
                <a:gridCol w="105694">
                  <a:extLst>
                    <a:ext uri="{9D8B030D-6E8A-4147-A177-3AD203B41FA5}">
                      <a16:colId xmlns:a16="http://schemas.microsoft.com/office/drawing/2014/main" val="3107223491"/>
                    </a:ext>
                  </a:extLst>
                </a:gridCol>
                <a:gridCol w="105694">
                  <a:extLst>
                    <a:ext uri="{9D8B030D-6E8A-4147-A177-3AD203B41FA5}">
                      <a16:colId xmlns:a16="http://schemas.microsoft.com/office/drawing/2014/main" val="2464338931"/>
                    </a:ext>
                  </a:extLst>
                </a:gridCol>
                <a:gridCol w="105694">
                  <a:extLst>
                    <a:ext uri="{9D8B030D-6E8A-4147-A177-3AD203B41FA5}">
                      <a16:colId xmlns:a16="http://schemas.microsoft.com/office/drawing/2014/main" val="758492493"/>
                    </a:ext>
                  </a:extLst>
                </a:gridCol>
                <a:gridCol w="105694">
                  <a:extLst>
                    <a:ext uri="{9D8B030D-6E8A-4147-A177-3AD203B41FA5}">
                      <a16:colId xmlns:a16="http://schemas.microsoft.com/office/drawing/2014/main" val="3956261125"/>
                    </a:ext>
                  </a:extLst>
                </a:gridCol>
                <a:gridCol w="107372">
                  <a:extLst>
                    <a:ext uri="{9D8B030D-6E8A-4147-A177-3AD203B41FA5}">
                      <a16:colId xmlns:a16="http://schemas.microsoft.com/office/drawing/2014/main" val="2001577597"/>
                    </a:ext>
                  </a:extLst>
                </a:gridCol>
              </a:tblGrid>
              <a:tr h="138028">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gridSpan="21">
                  <a:txBody>
                    <a:bodyPr/>
                    <a:lstStyle/>
                    <a:p>
                      <a:pPr algn="ctr" fontAlgn="ctr"/>
                      <a:r>
                        <a:rPr lang="en-GB" sz="600" b="1" i="0" u="none" strike="noStrike">
                          <a:solidFill>
                            <a:srgbClr val="FFFFFF"/>
                          </a:solidFill>
                          <a:effectLst/>
                          <a:latin typeface="Calibri Light" panose="020F0302020204030204" pitchFamily="34" charset="0"/>
                        </a:rPr>
                        <a:t>March</a:t>
                      </a:r>
                    </a:p>
                  </a:txBody>
                  <a:tcPr marL="4777" marR="4777" marT="47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2">
                  <a:txBody>
                    <a:bodyPr/>
                    <a:lstStyle/>
                    <a:p>
                      <a:pPr algn="ctr" fontAlgn="ctr"/>
                      <a:r>
                        <a:rPr lang="en-GB" sz="600" b="1" i="0" u="none" strike="noStrike">
                          <a:solidFill>
                            <a:srgbClr val="FFFFFF"/>
                          </a:solidFill>
                          <a:effectLst/>
                          <a:latin typeface="Calibri Light" panose="020F0302020204030204" pitchFamily="34" charset="0"/>
                        </a:rPr>
                        <a:t>April</a:t>
                      </a:r>
                    </a:p>
                  </a:txBody>
                  <a:tcPr marL="4777" marR="4777" marT="47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2">
                  <a:txBody>
                    <a:bodyPr/>
                    <a:lstStyle/>
                    <a:p>
                      <a:pPr algn="ctr" fontAlgn="ctr"/>
                      <a:r>
                        <a:rPr lang="en-GB" sz="600" b="1" i="0" u="none" strike="noStrike">
                          <a:solidFill>
                            <a:srgbClr val="FFFFFF"/>
                          </a:solidFill>
                          <a:effectLst/>
                          <a:latin typeface="Calibri Light" panose="020F0302020204030204" pitchFamily="34" charset="0"/>
                        </a:rPr>
                        <a:t>May</a:t>
                      </a:r>
                    </a:p>
                  </a:txBody>
                  <a:tcPr marL="4777" marR="4777" marT="47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600" b="1" i="0" u="none" strike="noStrike">
                          <a:solidFill>
                            <a:srgbClr val="FFFFFF"/>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530047451"/>
                  </a:ext>
                </a:extLst>
              </a:tr>
              <a:tr h="132388">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GB" sz="600" b="0" i="0" u="none" strike="noStrike">
                          <a:solidFill>
                            <a:srgbClr val="000000"/>
                          </a:solidFill>
                          <a:effectLst/>
                          <a:latin typeface="Calibri Light" panose="020F0302020204030204" pitchFamily="34" charset="0"/>
                        </a:rPr>
                        <a:t>##</a:t>
                      </a:r>
                    </a:p>
                  </a:txBody>
                  <a:tcPr marL="4777" marR="4777" marT="4777"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gridSpan="5">
                  <a:txBody>
                    <a:bodyPr/>
                    <a:lstStyle/>
                    <a:p>
                      <a:pPr algn="ctr" fontAlgn="ctr"/>
                      <a:r>
                        <a:rPr lang="en-GB" sz="600" b="0" i="0" u="none" strike="noStrike">
                          <a:solidFill>
                            <a:srgbClr val="000000"/>
                          </a:solidFill>
                          <a:effectLst/>
                          <a:latin typeface="Calibri Light" panose="020F0302020204030204" pitchFamily="34" charset="0"/>
                        </a:rPr>
                        <a:t>4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1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8 Ma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5 Mar 2024</a:t>
                      </a:r>
                    </a:p>
                  </a:txBody>
                  <a:tcPr marL="4777" marR="4777" marT="4777"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 Apr 2024</a:t>
                      </a:r>
                    </a:p>
                  </a:txBody>
                  <a:tcPr marL="4777" marR="4777" marT="4777"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8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5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2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9 Apr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6 May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13 May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0 May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fontAlgn="ctr"/>
                      <a:r>
                        <a:rPr lang="en-GB" sz="600" b="0" i="0" u="none" strike="noStrike">
                          <a:solidFill>
                            <a:srgbClr val="000000"/>
                          </a:solidFill>
                          <a:effectLst/>
                          <a:latin typeface="Calibri Light" panose="020F0302020204030204" pitchFamily="34" charset="0"/>
                        </a:rPr>
                        <a:t>27 May 2024</a:t>
                      </a:r>
                    </a:p>
                  </a:txBody>
                  <a:tcPr marL="4777" marR="4777" marT="4777"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72701844"/>
                  </a:ext>
                </a:extLst>
              </a:tr>
              <a:tr h="138028">
                <a:tc>
                  <a:txBody>
                    <a:bodyPr/>
                    <a:lstStyle/>
                    <a:p>
                      <a:pPr algn="ctr" fontAlgn="b"/>
                      <a:endParaRPr lang="en-GB" sz="600" b="0" i="0" u="none" strike="noStrike">
                        <a:solidFill>
                          <a:srgbClr val="FFFFFF"/>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89770700"/>
                  </a:ext>
                </a:extLst>
              </a:tr>
              <a:tr h="170891">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404040"/>
                    </a:solidFill>
                  </a:tcPr>
                </a:tc>
                <a:tc>
                  <a:txBody>
                    <a:bodyPr/>
                    <a:lstStyle/>
                    <a:p>
                      <a:pPr algn="l" fontAlgn="ctr"/>
                      <a:r>
                        <a:rPr lang="en-GB" sz="700" b="1" i="0" u="none" strike="noStrike">
                          <a:solidFill>
                            <a:srgbClr val="FFFFFF"/>
                          </a:solidFill>
                          <a:effectLst/>
                          <a:latin typeface="Calibri Light" panose="020F0302020204030204" pitchFamily="34" charset="0"/>
                        </a:rPr>
                        <a:t>Work Package (WP) and task descriptio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414042"/>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76677947"/>
                  </a:ext>
                </a:extLst>
              </a:tr>
              <a:tr h="170891">
                <a:tc>
                  <a:txBody>
                    <a:bodyPr/>
                    <a:lstStyle/>
                    <a:p>
                      <a:pPr algn="ctr" fontAlgn="ctr"/>
                      <a:r>
                        <a:rPr lang="en-GB" sz="700" b="1" i="0" u="none" strike="noStrike">
                          <a:solidFill>
                            <a:srgbClr val="FFFFFF"/>
                          </a:solidFill>
                          <a:effectLst/>
                          <a:latin typeface="Calibri Light" panose="020F0302020204030204" pitchFamily="34" charset="0"/>
                        </a:rPr>
                        <a:t>WP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700" b="1" i="0" u="none" strike="noStrike">
                          <a:solidFill>
                            <a:srgbClr val="FFFFFF"/>
                          </a:solidFill>
                          <a:effectLst/>
                          <a:latin typeface="Calibri Light" panose="020F0302020204030204" pitchFamily="34" charset="0"/>
                        </a:rPr>
                        <a:t>Engagement with local authorities and social housing provider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80650150"/>
                  </a:ext>
                </a:extLst>
              </a:tr>
              <a:tr h="138028">
                <a:tc>
                  <a:txBody>
                    <a:bodyPr/>
                    <a:lstStyle/>
                    <a:p>
                      <a:pPr algn="ctr" fontAlgn="ctr"/>
                      <a:r>
                        <a:rPr lang="en-GB" sz="600" b="0" i="0" u="none" strike="noStrike">
                          <a:solidFill>
                            <a:srgbClr val="000000"/>
                          </a:solidFill>
                          <a:effectLst/>
                          <a:latin typeface="Calibri Light" panose="020F0302020204030204" pitchFamily="34" charset="0"/>
                        </a:rPr>
                        <a:t>1.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ablish the precursors (capacity and opportunity) to engagemen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37218268"/>
                  </a:ext>
                </a:extLst>
              </a:tr>
              <a:tr h="138028">
                <a:tc>
                  <a:txBody>
                    <a:bodyPr/>
                    <a:lstStyle/>
                    <a:p>
                      <a:pPr algn="ctr" fontAlgn="ctr"/>
                      <a:r>
                        <a:rPr lang="en-GB" sz="600" b="0" i="0" u="none" strike="noStrike">
                          <a:solidFill>
                            <a:srgbClr val="000000"/>
                          </a:solidFill>
                          <a:effectLst/>
                          <a:latin typeface="Calibri Light" panose="020F0302020204030204" pitchFamily="34" charset="0"/>
                        </a:rPr>
                        <a:t>1.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velop and prioritise contacts list for targetted engagemen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20922125"/>
                  </a:ext>
                </a:extLst>
              </a:tr>
              <a:tr h="138028">
                <a:tc>
                  <a:txBody>
                    <a:bodyPr/>
                    <a:lstStyle/>
                    <a:p>
                      <a:pPr algn="ctr" fontAlgn="ctr"/>
                      <a:r>
                        <a:rPr lang="en-GB" sz="600" b="0" i="0" u="none" strike="noStrike">
                          <a:solidFill>
                            <a:srgbClr val="000000"/>
                          </a:solidFill>
                          <a:effectLst/>
                          <a:latin typeface="Calibri Light" panose="020F0302020204030204" pitchFamily="34" charset="0"/>
                        </a:rPr>
                        <a:t>1.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velop and pilot capacity building tools and process by working with LA or SHP champion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785674141"/>
                  </a:ext>
                </a:extLst>
              </a:tr>
              <a:tr h="138028">
                <a:tc>
                  <a:txBody>
                    <a:bodyPr/>
                    <a:lstStyle/>
                    <a:p>
                      <a:pPr algn="ctr" fontAlgn="ctr"/>
                      <a:r>
                        <a:rPr lang="en-GB" sz="600" b="0" i="0" u="none" strike="noStrike">
                          <a:solidFill>
                            <a:srgbClr val="000000"/>
                          </a:solidFill>
                          <a:effectLst/>
                          <a:latin typeface="Calibri Light" panose="020F0302020204030204" pitchFamily="34" charset="0"/>
                        </a:rPr>
                        <a:t>1.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Compile and analyse results into an intermediate report</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ctr"/>
                      <a:r>
                        <a:rPr lang="en-GB" sz="6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9C152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70827774"/>
                  </a:ext>
                </a:extLst>
              </a:tr>
              <a:tr h="170891">
                <a:tc>
                  <a:txBody>
                    <a:bodyPr/>
                    <a:lstStyle/>
                    <a:p>
                      <a:pPr algn="ctr" fontAlgn="ctr"/>
                      <a:r>
                        <a:rPr lang="en-GB" sz="700" b="1" i="0" u="none" strike="noStrike">
                          <a:solidFill>
                            <a:srgbClr val="FFFFFF"/>
                          </a:solidFill>
                          <a:effectLst/>
                          <a:latin typeface="Calibri Light" panose="020F0302020204030204" pitchFamily="34" charset="0"/>
                        </a:rPr>
                        <a:t>WP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700" b="1" i="0" u="none" strike="noStrike">
                          <a:solidFill>
                            <a:srgbClr val="FFFFFF"/>
                          </a:solidFill>
                          <a:effectLst/>
                          <a:latin typeface="Calibri Light" panose="020F0302020204030204" pitchFamily="34" charset="0"/>
                        </a:rPr>
                        <a:t>Establish requirements for contractual framework</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43779106"/>
                  </a:ext>
                </a:extLst>
              </a:tr>
              <a:tr h="138028">
                <a:tc>
                  <a:txBody>
                    <a:bodyPr/>
                    <a:lstStyle/>
                    <a:p>
                      <a:pPr algn="ctr" fontAlgn="ctr"/>
                      <a:r>
                        <a:rPr lang="en-GB" sz="600" b="0" i="0" u="none" strike="noStrike">
                          <a:solidFill>
                            <a:srgbClr val="000000"/>
                          </a:solidFill>
                          <a:effectLst/>
                          <a:latin typeface="Calibri Light" panose="020F0302020204030204" pitchFamily="34" charset="0"/>
                        </a:rPr>
                        <a:t>2.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Literature review of current energy efficiency flexibility producsts and commercial framework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554253207"/>
                  </a:ext>
                </a:extLst>
              </a:tr>
              <a:tr h="269481">
                <a:tc>
                  <a:txBody>
                    <a:bodyPr/>
                    <a:lstStyle/>
                    <a:p>
                      <a:pPr algn="ctr" fontAlgn="ctr"/>
                      <a:r>
                        <a:rPr lang="en-GB" sz="600" b="0" i="0" u="none" strike="noStrike">
                          <a:solidFill>
                            <a:srgbClr val="000000"/>
                          </a:solidFill>
                          <a:effectLst/>
                          <a:latin typeface="Calibri Light" panose="020F0302020204030204" pitchFamily="34" charset="0"/>
                        </a:rPr>
                        <a:t>2.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Workshops with UKPN flex &amp; data teams to gain understanding on commercial and technical/data and document barriers and prioritise opporunities for investegation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926855079"/>
                  </a:ext>
                </a:extLst>
              </a:tr>
              <a:tr h="138028">
                <a:tc>
                  <a:txBody>
                    <a:bodyPr/>
                    <a:lstStyle/>
                    <a:p>
                      <a:pPr algn="ctr" fontAlgn="ctr"/>
                      <a:r>
                        <a:rPr lang="en-GB" sz="600" b="0" i="0" u="none" strike="noStrike">
                          <a:solidFill>
                            <a:srgbClr val="000000"/>
                          </a:solidFill>
                          <a:effectLst/>
                          <a:latin typeface="Calibri Light" panose="020F0302020204030204" pitchFamily="34" charset="0"/>
                        </a:rPr>
                        <a:t>2.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ablish and design data requirements and internal process mapping</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04592639"/>
                  </a:ext>
                </a:extLst>
              </a:tr>
              <a:tr h="138028">
                <a:tc>
                  <a:txBody>
                    <a:bodyPr/>
                    <a:lstStyle/>
                    <a:p>
                      <a:pPr algn="ctr" fontAlgn="ctr"/>
                      <a:r>
                        <a:rPr lang="en-GB" sz="600" b="0" i="0" u="none" strike="noStrike">
                          <a:solidFill>
                            <a:srgbClr val="000000"/>
                          </a:solidFill>
                          <a:effectLst/>
                          <a:latin typeface="Calibri Light" panose="020F0302020204030204" pitchFamily="34" charset="0"/>
                        </a:rPr>
                        <a:t>2.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velop a proof of concept framework for direct contracting with the DSO.</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ctr"/>
                      <a:r>
                        <a:rPr lang="en-GB" sz="600" b="0" i="0" u="none" strike="noStrike">
                          <a:solidFill>
                            <a:srgbClr val="70AD47"/>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D7D31"/>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61231887"/>
                  </a:ext>
                </a:extLst>
              </a:tr>
              <a:tr h="170891">
                <a:tc>
                  <a:txBody>
                    <a:bodyPr/>
                    <a:lstStyle/>
                    <a:p>
                      <a:pPr algn="ctr" fontAlgn="ctr"/>
                      <a:r>
                        <a:rPr lang="en-GB" sz="700" b="1" i="0" u="none" strike="noStrike">
                          <a:solidFill>
                            <a:srgbClr val="FFFFFF"/>
                          </a:solidFill>
                          <a:effectLst/>
                          <a:latin typeface="Calibri Light" panose="020F0302020204030204" pitchFamily="34" charset="0"/>
                        </a:rPr>
                        <a:t>WP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ctr"/>
                      <a:r>
                        <a:rPr lang="en-GB" sz="700" b="1" i="0" u="none" strike="noStrike">
                          <a:solidFill>
                            <a:srgbClr val="FFFFFF"/>
                          </a:solidFill>
                          <a:effectLst/>
                          <a:latin typeface="Calibri Light" panose="020F0302020204030204" pitchFamily="34" charset="0"/>
                        </a:rPr>
                        <a:t>Develop partnership ecosystem framework</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766528664"/>
                  </a:ext>
                </a:extLst>
              </a:tr>
              <a:tr h="170891">
                <a:tc>
                  <a:txBody>
                    <a:bodyPr/>
                    <a:lstStyle/>
                    <a:p>
                      <a:pPr algn="ctr" fontAlgn="ctr"/>
                      <a:r>
                        <a:rPr lang="en-GB" sz="600" b="0" i="0" u="none" strike="noStrike">
                          <a:solidFill>
                            <a:srgbClr val="000000"/>
                          </a:solidFill>
                          <a:effectLst/>
                          <a:latin typeface="Calibri Light" panose="020F0302020204030204" pitchFamily="34" charset="0"/>
                        </a:rPr>
                        <a:t>3.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Undertake desktop research on available energy efficiency funding sources for LAs &amp; SHP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441511377"/>
                  </a:ext>
                </a:extLst>
              </a:tr>
              <a:tr h="170891">
                <a:tc>
                  <a:txBody>
                    <a:bodyPr/>
                    <a:lstStyle/>
                    <a:p>
                      <a:pPr algn="ctr" fontAlgn="ctr"/>
                      <a:r>
                        <a:rPr lang="en-GB" sz="600" b="0" i="0" u="none" strike="noStrike">
                          <a:solidFill>
                            <a:srgbClr val="000000"/>
                          </a:solidFill>
                          <a:effectLst/>
                          <a:latin typeface="Calibri Light" panose="020F0302020204030204" pitchFamily="34" charset="0"/>
                        </a:rPr>
                        <a:t>3.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Design a partnership ecosystem framework across the Energy Efficiency Flexibility Value Chai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158177"/>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04831145"/>
                  </a:ext>
                </a:extLst>
              </a:tr>
              <a:tr h="170891">
                <a:tc>
                  <a:txBody>
                    <a:bodyPr/>
                    <a:lstStyle/>
                    <a:p>
                      <a:pPr algn="ctr" fontAlgn="ctr"/>
                      <a:r>
                        <a:rPr lang="en-GB" sz="700" b="1" i="0" u="none" strike="noStrike">
                          <a:solidFill>
                            <a:srgbClr val="FFFFFF"/>
                          </a:solidFill>
                          <a:effectLst/>
                          <a:latin typeface="Calibri Light" panose="020F0302020204030204" pitchFamily="34" charset="0"/>
                        </a:rPr>
                        <a:t>WP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ctr"/>
                      <a:r>
                        <a:rPr lang="en-GB" sz="700" b="1" i="0" u="none" strike="noStrike">
                          <a:solidFill>
                            <a:srgbClr val="FFFFFF"/>
                          </a:solidFill>
                          <a:effectLst/>
                          <a:latin typeface="Calibri Light" panose="020F0302020204030204" pitchFamily="34" charset="0"/>
                        </a:rPr>
                        <a:t>Assess the benefits and opportunity to scale</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900369721"/>
                  </a:ext>
                </a:extLst>
              </a:tr>
              <a:tr h="170891">
                <a:tc>
                  <a:txBody>
                    <a:bodyPr/>
                    <a:lstStyle/>
                    <a:p>
                      <a:pPr algn="ctr" fontAlgn="ctr"/>
                      <a:r>
                        <a:rPr lang="en-GB" sz="600" b="0" i="0" u="none" strike="noStrike">
                          <a:solidFill>
                            <a:srgbClr val="000000"/>
                          </a:solidFill>
                          <a:effectLst/>
                          <a:latin typeface="Calibri Light" panose="020F0302020204030204" pitchFamily="34" charset="0"/>
                        </a:rPr>
                        <a:t>4.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stimate the volume of additional flexibility that can be achieved by Flex-Direct approach</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18147725"/>
                  </a:ext>
                </a:extLst>
              </a:tr>
              <a:tr h="170891">
                <a:tc>
                  <a:txBody>
                    <a:bodyPr/>
                    <a:lstStyle/>
                    <a:p>
                      <a:pPr algn="ctr" fontAlgn="ctr"/>
                      <a:r>
                        <a:rPr lang="en-GB" sz="600" b="0" i="0" u="none" strike="noStrike">
                          <a:solidFill>
                            <a:srgbClr val="000000"/>
                          </a:solidFill>
                          <a:effectLst/>
                          <a:latin typeface="Calibri Light" panose="020F0302020204030204" pitchFamily="34" charset="0"/>
                        </a:rPr>
                        <a:t>4.2</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Simulate the future GB energy system with and without Flex-Direct solution</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79374277"/>
                  </a:ext>
                </a:extLst>
              </a:tr>
              <a:tr h="170891">
                <a:tc>
                  <a:txBody>
                    <a:bodyPr/>
                    <a:lstStyle/>
                    <a:p>
                      <a:pPr algn="ctr" fontAlgn="ctr"/>
                      <a:r>
                        <a:rPr lang="en-GB" sz="600" b="0" i="0" u="none" strike="noStrike">
                          <a:solidFill>
                            <a:srgbClr val="000000"/>
                          </a:solidFill>
                          <a:effectLst/>
                          <a:latin typeface="Calibri Light" panose="020F0302020204030204" pitchFamily="34" charset="0"/>
                        </a:rPr>
                        <a:t>4.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Evaluate the whole-system gross benefits of the Flex-Direct solutions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565510215"/>
                  </a:ext>
                </a:extLst>
              </a:tr>
              <a:tr h="170891">
                <a:tc>
                  <a:txBody>
                    <a:bodyPr/>
                    <a:lstStyle/>
                    <a:p>
                      <a:pPr algn="ctr" fontAlgn="ctr"/>
                      <a:r>
                        <a:rPr lang="en-GB" sz="600" b="0" i="0" u="none" strike="noStrike">
                          <a:solidFill>
                            <a:srgbClr val="000000"/>
                          </a:solidFill>
                          <a:effectLst/>
                          <a:latin typeface="Calibri Light" panose="020F0302020204030204" pitchFamily="34" charset="0"/>
                        </a:rPr>
                        <a:t>4.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Analyse the implications to the system capacity and other flexibility requirements.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GB" sz="700" b="1" i="0" u="none" strike="noStrike">
                          <a:solidFill>
                            <a:srgbClr val="000000"/>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99157666"/>
                  </a:ext>
                </a:extLst>
              </a:tr>
              <a:tr h="170891">
                <a:tc>
                  <a:txBody>
                    <a:bodyPr/>
                    <a:lstStyle/>
                    <a:p>
                      <a:pPr algn="ctr" fontAlgn="ctr"/>
                      <a:r>
                        <a:rPr lang="en-GB" sz="700" b="1" i="0" u="none" strike="noStrike">
                          <a:solidFill>
                            <a:srgbClr val="FFFFFF"/>
                          </a:solidFill>
                          <a:effectLst/>
                          <a:latin typeface="Calibri Light" panose="020F0302020204030204" pitchFamily="34" charset="0"/>
                        </a:rPr>
                        <a:t>WP5</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ctr"/>
                      <a:r>
                        <a:rPr lang="en-GB" sz="700" b="1" i="0" u="none" strike="noStrike">
                          <a:solidFill>
                            <a:srgbClr val="FFFFFF"/>
                          </a:solidFill>
                          <a:effectLst/>
                          <a:latin typeface="Calibri Light" panose="020F0302020204030204" pitchFamily="34" charset="0"/>
                        </a:rPr>
                        <a:t>Project Managemen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784735477"/>
                  </a:ext>
                </a:extLst>
              </a:tr>
              <a:tr h="170891">
                <a:tc>
                  <a:txBody>
                    <a:bodyPr/>
                    <a:lstStyle/>
                    <a:p>
                      <a:pPr algn="ctr" fontAlgn="ctr"/>
                      <a:r>
                        <a:rPr lang="en-GB" sz="600" b="0" i="0" u="none" strike="noStrike">
                          <a:solidFill>
                            <a:srgbClr val="000000"/>
                          </a:solidFill>
                          <a:effectLst/>
                          <a:latin typeface="Calibri Light" panose="020F0302020204030204" pitchFamily="34" charset="0"/>
                        </a:rPr>
                        <a:t>5.1</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Plan (identify and agree on key milestones under each workstream, risks, dependencies, and review process)</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a:noFill/>
                    </a:lnT>
                    <a:lnB w="12700" cap="flat" cmpd="sng" algn="ctr">
                      <a:solidFill>
                        <a:srgbClr val="D9D9D9"/>
                      </a:solidFill>
                      <a:prstDash val="solid"/>
                      <a:round/>
                      <a:headEnd type="none" w="med" len="med"/>
                      <a:tailEnd type="none" w="med" len="med"/>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897227732"/>
                  </a:ext>
                </a:extLst>
              </a:tr>
              <a:tr h="170891">
                <a:tc>
                  <a:txBody>
                    <a:bodyPr/>
                    <a:lstStyle/>
                    <a:p>
                      <a:pPr algn="ctr" fontAlgn="ctr"/>
                      <a:r>
                        <a:rPr lang="en-GB" sz="600" b="0" i="0" u="none" strike="noStrike">
                          <a:solidFill>
                            <a:srgbClr val="000000"/>
                          </a:solidFill>
                          <a:effectLst/>
                          <a:latin typeface="Calibri Light" panose="020F0302020204030204" pitchFamily="34" charset="0"/>
                        </a:rPr>
                        <a:t>5.3</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Monitor progress and learning with fortnightly team meetings, Show &amp; Tell webinar and end of phase meeting</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extLst>
                  <a:ext uri="{0D108BD9-81ED-4DB2-BD59-A6C34878D82A}">
                    <a16:rowId xmlns:a16="http://schemas.microsoft.com/office/drawing/2014/main" val="3228478311"/>
                  </a:ext>
                </a:extLst>
              </a:tr>
              <a:tr h="170891">
                <a:tc>
                  <a:txBody>
                    <a:bodyPr/>
                    <a:lstStyle/>
                    <a:p>
                      <a:pPr algn="ctr" fontAlgn="ctr"/>
                      <a:r>
                        <a:rPr lang="en-GB" sz="600" b="0" i="0" u="none" strike="noStrike">
                          <a:solidFill>
                            <a:srgbClr val="000000"/>
                          </a:solidFill>
                          <a:effectLst/>
                          <a:latin typeface="Calibri Light" panose="020F0302020204030204" pitchFamily="34" charset="0"/>
                        </a:rPr>
                        <a:t>5.4</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ctr"/>
                      <a:r>
                        <a:rPr lang="en-GB" sz="600" b="0" i="0" u="none" strike="noStrike">
                          <a:solidFill>
                            <a:srgbClr val="000000"/>
                          </a:solidFill>
                          <a:effectLst/>
                          <a:latin typeface="Calibri Light" panose="020F0302020204030204" pitchFamily="34" charset="0"/>
                        </a:rPr>
                        <a:t>Produce end of phase reporting</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9E9E9"/>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w="12700" cap="flat" cmpd="sng" algn="ctr">
                      <a:solidFill>
                        <a:srgbClr val="000000"/>
                      </a:solidFill>
                      <a:prstDash val="solid"/>
                      <a:round/>
                      <a:headEnd type="none" w="med" len="med"/>
                      <a:tailEnd type="none" w="med" len="med"/>
                    </a:lnR>
                    <a:lnT>
                      <a:noFill/>
                    </a:lnT>
                    <a:lnB>
                      <a:noFill/>
                    </a:lnB>
                    <a:solidFill>
                      <a:srgbClr val="404040"/>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a:noFill/>
                    </a:lnT>
                    <a:lnB>
                      <a:noFill/>
                    </a:lnB>
                    <a:solidFill>
                      <a:srgbClr val="404040"/>
                    </a:solid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w="12700" cap="flat" cmpd="sng" algn="ctr">
                      <a:solidFill>
                        <a:srgbClr val="000000"/>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endParaRPr lang="en-GB" sz="600" b="0" i="0" u="none" strike="noStrike">
                        <a:solidFill>
                          <a:srgbClr val="000000"/>
                        </a:solidFill>
                        <a:effectLst/>
                        <a:latin typeface="Calibri Light" panose="020F0302020204030204" pitchFamily="34" charset="0"/>
                      </a:endParaRPr>
                    </a:p>
                  </a:txBody>
                  <a:tcPr marL="4777" marR="4777" marT="4777" marB="0" anchor="b">
                    <a:lnL>
                      <a:noFill/>
                    </a:lnL>
                    <a:lnR>
                      <a:noFill/>
                    </a:lnR>
                    <a:lnT w="12700" cap="flat" cmpd="sng" algn="ctr">
                      <a:solidFill>
                        <a:srgbClr val="D9D9D9"/>
                      </a:solidFill>
                      <a:prstDash val="solid"/>
                      <a:round/>
                      <a:headEnd type="none" w="med" len="med"/>
                      <a:tailEnd type="none" w="med" len="med"/>
                    </a:lnT>
                    <a:lnB>
                      <a:noFill/>
                    </a:lnB>
                    <a:no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l" fontAlgn="b"/>
                      <a:r>
                        <a:rPr lang="en-GB" sz="600" b="0" i="0" u="none" strike="noStrike">
                          <a:solidFill>
                            <a:srgbClr val="000000"/>
                          </a:solidFill>
                          <a:effectLst/>
                          <a:latin typeface="Calibri Light" panose="020F0302020204030204" pitchFamily="34" charset="0"/>
                        </a:rPr>
                        <a:t> </a:t>
                      </a:r>
                    </a:p>
                  </a:txBody>
                  <a:tcPr marL="4777" marR="4777" marT="4777" marB="0" anchor="b">
                    <a:lnL>
                      <a:noFill/>
                    </a:lnL>
                    <a:lnR>
                      <a:noFill/>
                    </a:lnR>
                    <a:lnT>
                      <a:noFill/>
                    </a:lnT>
                    <a:lnB>
                      <a:noFill/>
                    </a:lnB>
                    <a:solidFill>
                      <a:srgbClr val="404040"/>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a:solidFill>
                            <a:srgbClr val="FFFFFF"/>
                          </a:solidFill>
                          <a:effectLst/>
                          <a:latin typeface="Calibri Light" panose="020F0302020204030204" pitchFamily="34" charset="0"/>
                        </a:rPr>
                        <a:t> </a:t>
                      </a:r>
                    </a:p>
                  </a:txBody>
                  <a:tcPr marL="4777" marR="4777" marT="4777"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tc>
                  <a:txBody>
                    <a:bodyPr/>
                    <a:lstStyle/>
                    <a:p>
                      <a:pPr algn="ctr" fontAlgn="ctr"/>
                      <a:r>
                        <a:rPr lang="en-GB" sz="700" b="1" i="0" u="none" strike="noStrike" dirty="0">
                          <a:solidFill>
                            <a:srgbClr val="FFFFFF"/>
                          </a:solidFill>
                          <a:effectLst/>
                          <a:latin typeface="Calibri Light" panose="020F0302020204030204" pitchFamily="34" charset="0"/>
                        </a:rPr>
                        <a:t> </a:t>
                      </a:r>
                    </a:p>
                  </a:txBody>
                  <a:tcPr marL="4777" marR="4777" marT="4777" marB="0" anchor="ctr">
                    <a:lnL>
                      <a:noFill/>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A66EAA"/>
                    </a:solidFill>
                  </a:tcPr>
                </a:tc>
                <a:extLst>
                  <a:ext uri="{0D108BD9-81ED-4DB2-BD59-A6C34878D82A}">
                    <a16:rowId xmlns:a16="http://schemas.microsoft.com/office/drawing/2014/main" val="3767838185"/>
                  </a:ext>
                </a:extLst>
              </a:tr>
            </a:tbl>
          </a:graphicData>
        </a:graphic>
      </p:graphicFrame>
      <p:sp>
        <p:nvSpPr>
          <p:cNvPr id="5" name="Flowchart: Decision 4">
            <a:extLst>
              <a:ext uri="{FF2B5EF4-FFF2-40B4-BE49-F238E27FC236}">
                <a16:creationId xmlns:a16="http://schemas.microsoft.com/office/drawing/2014/main" id="{AE166B4A-BCCD-B719-A305-2E68429121B3}"/>
              </a:ext>
            </a:extLst>
          </p:cNvPr>
          <p:cNvSpPr/>
          <p:nvPr/>
        </p:nvSpPr>
        <p:spPr>
          <a:xfrm>
            <a:off x="8966213" y="2486076"/>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6" name="Flowchart: Decision 5">
            <a:extLst>
              <a:ext uri="{FF2B5EF4-FFF2-40B4-BE49-F238E27FC236}">
                <a16:creationId xmlns:a16="http://schemas.microsoft.com/office/drawing/2014/main" id="{3BB9FA72-3E00-C906-A209-8D22CC16C528}"/>
              </a:ext>
            </a:extLst>
          </p:cNvPr>
          <p:cNvSpPr/>
          <p:nvPr/>
        </p:nvSpPr>
        <p:spPr>
          <a:xfrm>
            <a:off x="6979095" y="2789396"/>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7" name="Flowchart: Decision 6">
            <a:extLst>
              <a:ext uri="{FF2B5EF4-FFF2-40B4-BE49-F238E27FC236}">
                <a16:creationId xmlns:a16="http://schemas.microsoft.com/office/drawing/2014/main" id="{E7499ECB-8DBC-7494-FC45-B5CB2031AD00}"/>
              </a:ext>
            </a:extLst>
          </p:cNvPr>
          <p:cNvSpPr/>
          <p:nvPr/>
        </p:nvSpPr>
        <p:spPr>
          <a:xfrm>
            <a:off x="10153667" y="3352388"/>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9" name="Flowchart: Decision 8">
            <a:extLst>
              <a:ext uri="{FF2B5EF4-FFF2-40B4-BE49-F238E27FC236}">
                <a16:creationId xmlns:a16="http://schemas.microsoft.com/office/drawing/2014/main" id="{308DFE91-1B8E-0F54-4F99-23AEA8C0404C}"/>
              </a:ext>
            </a:extLst>
          </p:cNvPr>
          <p:cNvSpPr/>
          <p:nvPr/>
        </p:nvSpPr>
        <p:spPr>
          <a:xfrm>
            <a:off x="10157252" y="3822165"/>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0" name="Flowchart: Decision 9">
            <a:extLst>
              <a:ext uri="{FF2B5EF4-FFF2-40B4-BE49-F238E27FC236}">
                <a16:creationId xmlns:a16="http://schemas.microsoft.com/office/drawing/2014/main" id="{7EF277BF-FCC2-21B9-1E65-E5E9B929C219}"/>
              </a:ext>
            </a:extLst>
          </p:cNvPr>
          <p:cNvSpPr/>
          <p:nvPr/>
        </p:nvSpPr>
        <p:spPr>
          <a:xfrm>
            <a:off x="10099596" y="5209835"/>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1" name="Flowchart: Decision 10">
            <a:extLst>
              <a:ext uri="{FF2B5EF4-FFF2-40B4-BE49-F238E27FC236}">
                <a16:creationId xmlns:a16="http://schemas.microsoft.com/office/drawing/2014/main" id="{9AA29793-39D4-41EB-FE5F-6282FAA32D3E}"/>
              </a:ext>
            </a:extLst>
          </p:cNvPr>
          <p:cNvSpPr/>
          <p:nvPr/>
        </p:nvSpPr>
        <p:spPr>
          <a:xfrm>
            <a:off x="11287120" y="5386326"/>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2" name="Flowchart: Decision 11">
            <a:extLst>
              <a:ext uri="{FF2B5EF4-FFF2-40B4-BE49-F238E27FC236}">
                <a16:creationId xmlns:a16="http://schemas.microsoft.com/office/drawing/2014/main" id="{F3DE5D8D-E0D3-71CA-2E84-B5CCC629A3DC}"/>
              </a:ext>
            </a:extLst>
          </p:cNvPr>
          <p:cNvSpPr/>
          <p:nvPr/>
        </p:nvSpPr>
        <p:spPr>
          <a:xfrm>
            <a:off x="11287120" y="5193765"/>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13" name="Flowchart: Decision 12">
            <a:extLst>
              <a:ext uri="{FF2B5EF4-FFF2-40B4-BE49-F238E27FC236}">
                <a16:creationId xmlns:a16="http://schemas.microsoft.com/office/drawing/2014/main" id="{883CA1FF-0CC0-B3E4-D606-828A9A3EAB60}"/>
              </a:ext>
            </a:extLst>
          </p:cNvPr>
          <p:cNvSpPr/>
          <p:nvPr/>
        </p:nvSpPr>
        <p:spPr>
          <a:xfrm>
            <a:off x="10441385" y="4591563"/>
            <a:ext cx="133350" cy="143934"/>
          </a:xfrm>
          <a:prstGeom prst="flowChartDecision">
            <a:avLst/>
          </a:prstGeom>
          <a:solidFill>
            <a:schemeClr val="tx1"/>
          </a:solidFill>
          <a:ln w="19050">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Tree>
    <p:extLst>
      <p:ext uri="{BB962C8B-B14F-4D97-AF65-F5344CB8AC3E}">
        <p14:creationId xmlns:p14="http://schemas.microsoft.com/office/powerpoint/2010/main" val="16532035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a:latin typeface="Arial"/>
                <a:cs typeface="Arial"/>
              </a:rPr>
              <a:t>Progress to Plan - Summary</a:t>
            </a:r>
          </a:p>
        </p:txBody>
      </p:sp>
      <p:graphicFrame>
        <p:nvGraphicFramePr>
          <p:cNvPr id="4" name="Table 3">
            <a:extLst>
              <a:ext uri="{FF2B5EF4-FFF2-40B4-BE49-F238E27FC236}">
                <a16:creationId xmlns:a16="http://schemas.microsoft.com/office/drawing/2014/main" id="{44D2F438-CF21-41E2-96C3-F17D3AAFEBC3}"/>
              </a:ext>
            </a:extLst>
          </p:cNvPr>
          <p:cNvGraphicFramePr>
            <a:graphicFrameLocks noGrp="1"/>
          </p:cNvGraphicFramePr>
          <p:nvPr>
            <p:extLst>
              <p:ext uri="{D42A27DB-BD31-4B8C-83A1-F6EECF244321}">
                <p14:modId xmlns:p14="http://schemas.microsoft.com/office/powerpoint/2010/main" val="4057900485"/>
              </p:ext>
            </p:extLst>
          </p:nvPr>
        </p:nvGraphicFramePr>
        <p:xfrm>
          <a:off x="465373" y="1682003"/>
          <a:ext cx="11166122" cy="4459408"/>
        </p:xfrm>
        <a:graphic>
          <a:graphicData uri="http://schemas.openxmlformats.org/drawingml/2006/table">
            <a:tbl>
              <a:tblPr firstRow="1" bandRow="1">
                <a:tableStyleId>{21E4AEA4-8DFA-4A89-87EB-49C32662AFE0}</a:tableStyleId>
              </a:tblPr>
              <a:tblGrid>
                <a:gridCol w="1455791">
                  <a:extLst>
                    <a:ext uri="{9D8B030D-6E8A-4147-A177-3AD203B41FA5}">
                      <a16:colId xmlns:a16="http://schemas.microsoft.com/office/drawing/2014/main" val="910612283"/>
                    </a:ext>
                  </a:extLst>
                </a:gridCol>
                <a:gridCol w="1671781">
                  <a:extLst>
                    <a:ext uri="{9D8B030D-6E8A-4147-A177-3AD203B41FA5}">
                      <a16:colId xmlns:a16="http://schemas.microsoft.com/office/drawing/2014/main" val="2245810982"/>
                    </a:ext>
                  </a:extLst>
                </a:gridCol>
                <a:gridCol w="6767666">
                  <a:extLst>
                    <a:ext uri="{9D8B030D-6E8A-4147-A177-3AD203B41FA5}">
                      <a16:colId xmlns:a16="http://schemas.microsoft.com/office/drawing/2014/main" val="1416425598"/>
                    </a:ext>
                  </a:extLst>
                </a:gridCol>
                <a:gridCol w="1270884">
                  <a:extLst>
                    <a:ext uri="{9D8B030D-6E8A-4147-A177-3AD203B41FA5}">
                      <a16:colId xmlns:a16="http://schemas.microsoft.com/office/drawing/2014/main" val="3595722635"/>
                    </a:ext>
                  </a:extLst>
                </a:gridCol>
              </a:tblGrid>
              <a:tr h="563295">
                <a:tc>
                  <a:txBody>
                    <a:bodyPr/>
                    <a:lstStyle/>
                    <a:p>
                      <a:r>
                        <a:rPr lang="en-GB" sz="1600" dirty="0">
                          <a:latin typeface="Arial" panose="020B0604020202020204" pitchFamily="34" charset="0"/>
                          <a:cs typeface="Arial" panose="020B0604020202020204" pitchFamily="34" charset="0"/>
                        </a:rPr>
                        <a:t>Partner</a:t>
                      </a:r>
                    </a:p>
                  </a:txBody>
                  <a:tcPr/>
                </a:tc>
                <a:tc>
                  <a:txBody>
                    <a:bodyPr/>
                    <a:lstStyle/>
                    <a:p>
                      <a:r>
                        <a:rPr lang="en-GB" sz="1600" dirty="0">
                          <a:latin typeface="Arial" panose="020B0604020202020204" pitchFamily="34" charset="0"/>
                          <a:cs typeface="Arial" panose="020B0604020202020204" pitchFamily="34" charset="0"/>
                        </a:rPr>
                        <a:t>Work Package</a:t>
                      </a:r>
                    </a:p>
                  </a:txBody>
                  <a:tcPr/>
                </a:tc>
                <a:tc>
                  <a:txBody>
                    <a:bodyPr/>
                    <a:lstStyle/>
                    <a:p>
                      <a:r>
                        <a:rPr lang="en-GB" sz="1600">
                          <a:latin typeface="Arial" panose="020B0604020202020204" pitchFamily="34" charset="0"/>
                          <a:cs typeface="Arial" panose="020B0604020202020204" pitchFamily="34" charset="0"/>
                        </a:rPr>
                        <a:t>Deliverable</a:t>
                      </a:r>
                    </a:p>
                  </a:txBody>
                  <a:tcPr/>
                </a:tc>
                <a:tc>
                  <a:txBody>
                    <a:bodyPr/>
                    <a:lstStyle/>
                    <a:p>
                      <a:r>
                        <a:rPr lang="en-GB" sz="1600">
                          <a:latin typeface="Arial" panose="020B0604020202020204" pitchFamily="34" charset="0"/>
                          <a:cs typeface="Arial" panose="020B0604020202020204" pitchFamily="34" charset="0"/>
                        </a:rPr>
                        <a:t>Progress</a:t>
                      </a:r>
                    </a:p>
                  </a:txBody>
                  <a:tcPr/>
                </a:tc>
                <a:extLst>
                  <a:ext uri="{0D108BD9-81ED-4DB2-BD59-A6C34878D82A}">
                    <a16:rowId xmlns:a16="http://schemas.microsoft.com/office/drawing/2014/main" val="537312932"/>
                  </a:ext>
                </a:extLst>
              </a:tr>
              <a:tr h="1106485">
                <a:tc>
                  <a:txBody>
                    <a:bodyPr/>
                    <a:lstStyle/>
                    <a:p>
                      <a:r>
                        <a:rPr lang="en-GB" sz="1400" dirty="0">
                          <a:latin typeface="Arial" panose="020B0604020202020204" pitchFamily="34" charset="0"/>
                          <a:cs typeface="Arial" panose="020B0604020202020204" pitchFamily="34" charset="0"/>
                        </a:rPr>
                        <a:t>Centre for Sustainable Energy</a:t>
                      </a:r>
                    </a:p>
                  </a:txBody>
                  <a:tcPr/>
                </a:tc>
                <a:tc>
                  <a:txBody>
                    <a:bodyPr/>
                    <a:lstStyle/>
                    <a:p>
                      <a:r>
                        <a:rPr lang="en-GB" sz="1400">
                          <a:latin typeface="Arial" panose="020B0604020202020204" pitchFamily="34" charset="0"/>
                          <a:cs typeface="Arial" panose="020B0604020202020204" pitchFamily="34" charset="0"/>
                        </a:rPr>
                        <a:t>1: Engagement with Local Authorities &amp; Social Housing Providers</a:t>
                      </a:r>
                    </a:p>
                  </a:txBody>
                  <a:tcPr/>
                </a:tc>
                <a:tc>
                  <a:txBody>
                    <a:bodyPr/>
                    <a:lstStyle/>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Report on insights gathered from Local Authorities &amp; Social Housing Providers, to establish willingness, capacity and ability to participate in direct contractual relationship with the DSO to deliver flexibility</a:t>
                      </a:r>
                    </a:p>
                  </a:txBody>
                  <a:tcPr/>
                </a:tc>
                <a:tc>
                  <a:txBody>
                    <a:bodyPr/>
                    <a:lstStyle/>
                    <a:p>
                      <a:pPr marL="0" indent="0">
                        <a:buFont typeface="Arial" panose="020B0604020202020204" pitchFamily="34" charset="0"/>
                        <a:buNone/>
                      </a:pPr>
                      <a:r>
                        <a:rPr lang="en-GB" sz="1400" i="1">
                          <a:latin typeface="Arial" panose="020B0604020202020204" pitchFamily="34" charset="0"/>
                          <a:cs typeface="Arial" panose="020B0604020202020204" pitchFamily="34" charset="0"/>
                        </a:rPr>
                        <a:t>First draft delivered</a:t>
                      </a:r>
                    </a:p>
                  </a:txBody>
                  <a:tcPr/>
                </a:tc>
                <a:extLst>
                  <a:ext uri="{0D108BD9-81ED-4DB2-BD59-A6C34878D82A}">
                    <a16:rowId xmlns:a16="http://schemas.microsoft.com/office/drawing/2014/main" val="3291425288"/>
                  </a:ext>
                </a:extLst>
              </a:tr>
              <a:tr h="830868">
                <a:tc>
                  <a:txBody>
                    <a:bodyPr/>
                    <a:lstStyle/>
                    <a:p>
                      <a:r>
                        <a:rPr lang="en-GB" sz="1400">
                          <a:latin typeface="Arial" panose="020B0604020202020204" pitchFamily="34" charset="0"/>
                          <a:cs typeface="Arial" panose="020B0604020202020204" pitchFamily="34" charset="0"/>
                        </a:rPr>
                        <a:t>Sia Partners</a:t>
                      </a:r>
                    </a:p>
                  </a:txBody>
                  <a:tcPr/>
                </a:tc>
                <a:tc>
                  <a:txBody>
                    <a:bodyPr/>
                    <a:lstStyle/>
                    <a:p>
                      <a:r>
                        <a:rPr lang="en-GB" sz="1400">
                          <a:latin typeface="Arial" panose="020B0604020202020204" pitchFamily="34" charset="0"/>
                          <a:cs typeface="Arial" panose="020B0604020202020204" pitchFamily="34" charset="0"/>
                        </a:rPr>
                        <a:t>2: Establish framework requirements</a:t>
                      </a:r>
                    </a:p>
                  </a:txBody>
                  <a:tcPr/>
                </a:tc>
                <a:tc>
                  <a:txBody>
                    <a:bodyPr/>
                    <a:lstStyle/>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Report compiling proposals and establishing requirements for contractual frameworks with LAs/SHPs.</a:t>
                      </a:r>
                    </a:p>
                  </a:txBody>
                  <a:tcPr/>
                </a:tc>
                <a:tc>
                  <a:txBody>
                    <a:bodyPr/>
                    <a:lstStyle/>
                    <a:p>
                      <a:pPr marL="0" indent="0">
                        <a:buFont typeface="Arial" panose="020B0604020202020204" pitchFamily="34" charset="0"/>
                        <a:buNone/>
                      </a:pPr>
                      <a:r>
                        <a:rPr lang="en-GB" sz="1400" i="1">
                          <a:latin typeface="Arial" panose="020B0604020202020204" pitchFamily="34" charset="0"/>
                          <a:cs typeface="Arial" panose="020B0604020202020204" pitchFamily="34" charset="0"/>
                        </a:rPr>
                        <a:t>First draft delivered</a:t>
                      </a:r>
                    </a:p>
                  </a:txBody>
                  <a:tcPr/>
                </a:tc>
                <a:extLst>
                  <a:ext uri="{0D108BD9-81ED-4DB2-BD59-A6C34878D82A}">
                    <a16:rowId xmlns:a16="http://schemas.microsoft.com/office/drawing/2014/main" val="2603515587"/>
                  </a:ext>
                </a:extLst>
              </a:tr>
              <a:tr h="1175485">
                <a:tc>
                  <a:txBody>
                    <a:bodyPr/>
                    <a:lstStyle/>
                    <a:p>
                      <a:r>
                        <a:rPr lang="en-GB" sz="1400">
                          <a:latin typeface="Arial" panose="020B0604020202020204" pitchFamily="34" charset="0"/>
                          <a:cs typeface="Arial" panose="020B0604020202020204" pitchFamily="34" charset="0"/>
                        </a:rPr>
                        <a:t>Sia Partners</a:t>
                      </a:r>
                    </a:p>
                  </a:txBody>
                  <a:tcPr/>
                </a:tc>
                <a:tc>
                  <a:txBody>
                    <a:bodyPr/>
                    <a:lstStyle/>
                    <a:p>
                      <a:r>
                        <a:rPr lang="en-GB" sz="1400">
                          <a:latin typeface="Arial" panose="020B0604020202020204" pitchFamily="34" charset="0"/>
                          <a:cs typeface="Arial" panose="020B0604020202020204" pitchFamily="34" charset="0"/>
                        </a:rPr>
                        <a:t>3: Develop partnership framework</a:t>
                      </a:r>
                    </a:p>
                  </a:txBody>
                  <a:tcPr/>
                </a:tc>
                <a:tc>
                  <a:txBody>
                    <a:bodyPr/>
                    <a:lstStyle/>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Report compiling proposals and defining a partnership ecosystem to align various stakeholders across the energy efficiency and flexibility value chain. </a:t>
                      </a: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Additional: identifying LAs that are more or less likely to be engaged on flexibility due to financial status and resources.</a:t>
                      </a:r>
                    </a:p>
                  </a:txBody>
                  <a:tcPr/>
                </a:tc>
                <a:tc>
                  <a:txBody>
                    <a:bodyPr/>
                    <a:lstStyle/>
                    <a:p>
                      <a:pPr marL="0" indent="0">
                        <a:buFont typeface="Arial" panose="020B0604020202020204" pitchFamily="34" charset="0"/>
                        <a:buNone/>
                      </a:pPr>
                      <a:r>
                        <a:rPr lang="en-GB" sz="1400" i="1">
                          <a:latin typeface="Arial" panose="020B0604020202020204" pitchFamily="34" charset="0"/>
                          <a:cs typeface="Arial" panose="020B0604020202020204" pitchFamily="34" charset="0"/>
                        </a:rPr>
                        <a:t>First draft delivered</a:t>
                      </a:r>
                    </a:p>
                  </a:txBody>
                  <a:tcPr/>
                </a:tc>
                <a:extLst>
                  <a:ext uri="{0D108BD9-81ED-4DB2-BD59-A6C34878D82A}">
                    <a16:rowId xmlns:a16="http://schemas.microsoft.com/office/drawing/2014/main" val="3590436660"/>
                  </a:ext>
                </a:extLst>
              </a:tr>
              <a:tr h="626740">
                <a:tc>
                  <a:txBody>
                    <a:bodyPr/>
                    <a:lstStyle/>
                    <a:p>
                      <a:r>
                        <a:rPr lang="en-GB" sz="1400">
                          <a:latin typeface="Arial" panose="020B0604020202020204" pitchFamily="34" charset="0"/>
                          <a:cs typeface="Arial" panose="020B0604020202020204" pitchFamily="34" charset="0"/>
                        </a:rPr>
                        <a:t>Imperial College Consultants</a:t>
                      </a:r>
                    </a:p>
                  </a:txBody>
                  <a:tcPr/>
                </a:tc>
                <a:tc>
                  <a:txBody>
                    <a:bodyPr/>
                    <a:lstStyle/>
                    <a:p>
                      <a:r>
                        <a:rPr lang="en-GB" sz="1400">
                          <a:latin typeface="Arial" panose="020B0604020202020204" pitchFamily="34" charset="0"/>
                          <a:cs typeface="Arial" panose="020B0604020202020204" pitchFamily="34" charset="0"/>
                        </a:rPr>
                        <a:t>4: Cost Benefit Analysis of scaling</a:t>
                      </a:r>
                    </a:p>
                  </a:txBody>
                  <a:tcPr/>
                </a:tc>
                <a:tc>
                  <a:txBody>
                    <a:bodyPr/>
                    <a:lstStyle/>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Produce CBA considering potential network, consumer and environmental benefits of scaling the Flex Direct approach across UKPN’s network area and GB.</a:t>
                      </a:r>
                    </a:p>
                  </a:txBody>
                  <a:tcPr/>
                </a:tc>
                <a:tc>
                  <a:txBody>
                    <a:bodyPr/>
                    <a:lstStyle/>
                    <a:p>
                      <a:pPr marL="0" indent="0">
                        <a:buFont typeface="Arial" panose="020B0604020202020204" pitchFamily="34" charset="0"/>
                        <a:buNone/>
                      </a:pPr>
                      <a:r>
                        <a:rPr lang="en-GB" sz="1400" i="1" dirty="0">
                          <a:latin typeface="Arial" panose="020B0604020202020204" pitchFamily="34" charset="0"/>
                          <a:cs typeface="Arial" panose="020B0604020202020204" pitchFamily="34" charset="0"/>
                        </a:rPr>
                        <a:t>First draft delivered</a:t>
                      </a:r>
                    </a:p>
                  </a:txBody>
                  <a:tcPr/>
                </a:tc>
                <a:extLst>
                  <a:ext uri="{0D108BD9-81ED-4DB2-BD59-A6C34878D82A}">
                    <a16:rowId xmlns:a16="http://schemas.microsoft.com/office/drawing/2014/main" val="3226700275"/>
                  </a:ext>
                </a:extLst>
              </a:tr>
            </a:tbl>
          </a:graphicData>
        </a:graphic>
      </p:graphicFrame>
      <p:sp>
        <p:nvSpPr>
          <p:cNvPr id="3" name="TextBox 2">
            <a:extLst>
              <a:ext uri="{FF2B5EF4-FFF2-40B4-BE49-F238E27FC236}">
                <a16:creationId xmlns:a16="http://schemas.microsoft.com/office/drawing/2014/main" id="{AD4C75A1-6873-6BE9-9BD3-53E0FA3FE536}"/>
              </a:ext>
            </a:extLst>
          </p:cNvPr>
          <p:cNvSpPr txBox="1"/>
          <p:nvPr/>
        </p:nvSpPr>
        <p:spPr>
          <a:xfrm>
            <a:off x="743868" y="1105136"/>
            <a:ext cx="7607660" cy="369332"/>
          </a:xfrm>
          <a:prstGeom prst="rect">
            <a:avLst/>
          </a:prstGeom>
          <a:noFill/>
        </p:spPr>
        <p:txBody>
          <a:bodyPr wrap="none" rtlCol="0">
            <a:spAutoFit/>
          </a:bodyPr>
          <a:lstStyle/>
          <a:p>
            <a:r>
              <a:rPr lang="en-GB" dirty="0"/>
              <a:t>Delivery of all work packages are on track to be completed by the end of May.</a:t>
            </a:r>
          </a:p>
        </p:txBody>
      </p:sp>
    </p:spTree>
    <p:extLst>
      <p:ext uri="{BB962C8B-B14F-4D97-AF65-F5344CB8AC3E}">
        <p14:creationId xmlns:p14="http://schemas.microsoft.com/office/powerpoint/2010/main" val="1006982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a:latin typeface="Arial"/>
                <a:cs typeface="Arial"/>
              </a:rPr>
              <a:t>Progress to Plan</a:t>
            </a:r>
            <a:endParaRPr lang="en-GB"/>
          </a:p>
        </p:txBody>
      </p:sp>
      <p:graphicFrame>
        <p:nvGraphicFramePr>
          <p:cNvPr id="3" name="Table 3">
            <a:extLst>
              <a:ext uri="{FF2B5EF4-FFF2-40B4-BE49-F238E27FC236}">
                <a16:creationId xmlns:a16="http://schemas.microsoft.com/office/drawing/2014/main" id="{BD4C38A6-F791-2AED-E661-5CFCEF9E13B9}"/>
              </a:ext>
            </a:extLst>
          </p:cNvPr>
          <p:cNvGraphicFramePr>
            <a:graphicFrameLocks noGrp="1"/>
          </p:cNvGraphicFramePr>
          <p:nvPr>
            <p:extLst>
              <p:ext uri="{D42A27DB-BD31-4B8C-83A1-F6EECF244321}">
                <p14:modId xmlns:p14="http://schemas.microsoft.com/office/powerpoint/2010/main" val="1410460540"/>
              </p:ext>
            </p:extLst>
          </p:nvPr>
        </p:nvGraphicFramePr>
        <p:xfrm>
          <a:off x="2514600" y="1782009"/>
          <a:ext cx="7268592" cy="2977200"/>
        </p:xfrm>
        <a:graphic>
          <a:graphicData uri="http://schemas.openxmlformats.org/drawingml/2006/table">
            <a:tbl>
              <a:tblPr firstRow="1" bandRow="1">
                <a:tableStyleId>{21E4AEA4-8DFA-4A89-87EB-49C32662AFE0}</a:tableStyleId>
              </a:tblPr>
              <a:tblGrid>
                <a:gridCol w="2962922">
                  <a:extLst>
                    <a:ext uri="{9D8B030D-6E8A-4147-A177-3AD203B41FA5}">
                      <a16:colId xmlns:a16="http://schemas.microsoft.com/office/drawing/2014/main" val="4204360891"/>
                    </a:ext>
                  </a:extLst>
                </a:gridCol>
                <a:gridCol w="4305670">
                  <a:extLst>
                    <a:ext uri="{9D8B030D-6E8A-4147-A177-3AD203B41FA5}">
                      <a16:colId xmlns:a16="http://schemas.microsoft.com/office/drawing/2014/main" val="3341769473"/>
                    </a:ext>
                  </a:extLst>
                </a:gridCol>
              </a:tblGrid>
              <a:tr h="370840">
                <a:tc>
                  <a:txBody>
                    <a:bodyPr/>
                    <a:lstStyle/>
                    <a:p>
                      <a:r>
                        <a:rPr lang="en-GB" sz="2400">
                          <a:latin typeface="Arial" panose="020B0604020202020204" pitchFamily="34" charset="0"/>
                          <a:cs typeface="Arial" panose="020B0604020202020204" pitchFamily="34" charset="0"/>
                        </a:rPr>
                        <a:t>Deliverables</a:t>
                      </a:r>
                    </a:p>
                  </a:txBody>
                  <a:tcPr anchor="ctr"/>
                </a:tc>
                <a:tc>
                  <a:txBody>
                    <a:bodyPr/>
                    <a:lstStyle/>
                    <a:p>
                      <a:r>
                        <a:rPr lang="en-GB" sz="2400">
                          <a:latin typeface="Arial" panose="020B0604020202020204" pitchFamily="34" charset="0"/>
                          <a:cs typeface="Arial" panose="020B0604020202020204" pitchFamily="34" charset="0"/>
                        </a:rPr>
                        <a:t>Outcome</a:t>
                      </a:r>
                    </a:p>
                  </a:txBody>
                  <a:tcPr anchor="ctr"/>
                </a:tc>
                <a:extLst>
                  <a:ext uri="{0D108BD9-81ED-4DB2-BD59-A6C34878D82A}">
                    <a16:rowId xmlns:a16="http://schemas.microsoft.com/office/drawing/2014/main" val="3482100598"/>
                  </a:ext>
                </a:extLst>
              </a:tr>
              <a:tr h="504000">
                <a:tc>
                  <a:txBody>
                    <a:bodyPr/>
                    <a:lstStyle/>
                    <a:p>
                      <a:pPr marL="0" indent="0">
                        <a:buFont typeface="Arial" panose="020B0604020202020204" pitchFamily="34" charset="0"/>
                        <a:buNone/>
                      </a:pPr>
                      <a:r>
                        <a:rPr lang="en-GB" sz="1800" dirty="0">
                          <a:latin typeface="Arial" panose="020B0604020202020204" pitchFamily="34" charset="0"/>
                          <a:cs typeface="Arial" panose="020B0604020202020204" pitchFamily="34" charset="0"/>
                        </a:rPr>
                        <a:t>Finances</a:t>
                      </a:r>
                    </a:p>
                  </a:txBody>
                  <a:tcPr anchor="ctr"/>
                </a:tc>
                <a:tc>
                  <a:txBody>
                    <a:bodyPr/>
                    <a:lstStyle/>
                    <a:p>
                      <a:pPr marL="0" indent="0">
                        <a:buFont typeface="Arial" panose="020B0604020202020204" pitchFamily="34" charset="0"/>
                        <a:buNone/>
                      </a:pPr>
                      <a:r>
                        <a:rPr lang="en-GB" sz="1800">
                          <a:latin typeface="Arial" panose="020B0604020202020204" pitchFamily="34" charset="0"/>
                          <a:cs typeface="Arial" panose="020B0604020202020204" pitchFamily="34" charset="0"/>
                        </a:rPr>
                        <a:t>On target</a:t>
                      </a:r>
                    </a:p>
                  </a:txBody>
                  <a:tcPr anchor="ctr"/>
                </a:tc>
                <a:extLst>
                  <a:ext uri="{0D108BD9-81ED-4DB2-BD59-A6C34878D82A}">
                    <a16:rowId xmlns:a16="http://schemas.microsoft.com/office/drawing/2014/main" val="2455887482"/>
                  </a:ext>
                </a:extLst>
              </a:tr>
              <a:tr h="50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Risk management</a:t>
                      </a:r>
                      <a:endParaRPr lang="en-US" sz="1600">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On target</a:t>
                      </a:r>
                    </a:p>
                  </a:txBody>
                  <a:tcPr anchor="ctr"/>
                </a:tc>
                <a:extLst>
                  <a:ext uri="{0D108BD9-81ED-4DB2-BD59-A6C34878D82A}">
                    <a16:rowId xmlns:a16="http://schemas.microsoft.com/office/drawing/2014/main" val="1900477628"/>
                  </a:ext>
                </a:extLst>
              </a:tr>
              <a:tr h="50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Project communica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kern="1200">
                          <a:solidFill>
                            <a:schemeClr val="dk1"/>
                          </a:solidFill>
                          <a:effectLst/>
                          <a:latin typeface="Arial" panose="020B0604020202020204" pitchFamily="34" charset="0"/>
                          <a:ea typeface="+mn-ea"/>
                          <a:cs typeface="Arial" panose="020B0604020202020204" pitchFamily="34" charset="0"/>
                        </a:rPr>
                        <a:t>On target</a:t>
                      </a:r>
                    </a:p>
                  </a:txBody>
                  <a:tcPr anchor="ctr"/>
                </a:tc>
                <a:extLst>
                  <a:ext uri="{0D108BD9-81ED-4DB2-BD59-A6C34878D82A}">
                    <a16:rowId xmlns:a16="http://schemas.microsoft.com/office/drawing/2014/main" val="2888046221"/>
                  </a:ext>
                </a:extLst>
              </a:tr>
              <a:tr h="50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Project specific condi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Complete</a:t>
                      </a:r>
                    </a:p>
                  </a:txBody>
                  <a:tcPr anchor="ctr"/>
                </a:tc>
                <a:extLst>
                  <a:ext uri="{0D108BD9-81ED-4DB2-BD59-A6C34878D82A}">
                    <a16:rowId xmlns:a16="http://schemas.microsoft.com/office/drawing/2014/main" val="2455229344"/>
                  </a:ext>
                </a:extLst>
              </a:tr>
              <a:tr h="50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a:latin typeface="Arial" panose="020B0604020202020204" pitchFamily="34" charset="0"/>
                          <a:cs typeface="Arial" panose="020B0604020202020204" pitchFamily="34" charset="0"/>
                        </a:rPr>
                        <a:t>Show and tel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dirty="0">
                          <a:latin typeface="Arial" panose="020B0604020202020204" pitchFamily="34" charset="0"/>
                          <a:cs typeface="Arial" panose="020B0604020202020204" pitchFamily="34" charset="0"/>
                        </a:rPr>
                        <a:t>Session booked, preparations underway</a:t>
                      </a:r>
                    </a:p>
                  </a:txBody>
                  <a:tcPr anchor="ctr"/>
                </a:tc>
                <a:extLst>
                  <a:ext uri="{0D108BD9-81ED-4DB2-BD59-A6C34878D82A}">
                    <a16:rowId xmlns:a16="http://schemas.microsoft.com/office/drawing/2014/main" val="442523677"/>
                  </a:ext>
                </a:extLst>
              </a:tr>
            </a:tbl>
          </a:graphicData>
        </a:graphic>
      </p:graphicFrame>
    </p:spTree>
    <p:extLst>
      <p:ext uri="{BB962C8B-B14F-4D97-AF65-F5344CB8AC3E}">
        <p14:creationId xmlns:p14="http://schemas.microsoft.com/office/powerpoint/2010/main" val="1516830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a:t>Risks</a:t>
            </a:r>
          </a:p>
        </p:txBody>
      </p:sp>
      <p:graphicFrame>
        <p:nvGraphicFramePr>
          <p:cNvPr id="4" name="Table 3">
            <a:extLst>
              <a:ext uri="{FF2B5EF4-FFF2-40B4-BE49-F238E27FC236}">
                <a16:creationId xmlns:a16="http://schemas.microsoft.com/office/drawing/2014/main" id="{B0D14B92-34B9-5AEB-17BC-8011AE102F13}"/>
              </a:ext>
            </a:extLst>
          </p:cNvPr>
          <p:cNvGraphicFramePr>
            <a:graphicFrameLocks noGrp="1"/>
          </p:cNvGraphicFramePr>
          <p:nvPr>
            <p:extLst>
              <p:ext uri="{D42A27DB-BD31-4B8C-83A1-F6EECF244321}">
                <p14:modId xmlns:p14="http://schemas.microsoft.com/office/powerpoint/2010/main" val="1840049382"/>
              </p:ext>
            </p:extLst>
          </p:nvPr>
        </p:nvGraphicFramePr>
        <p:xfrm>
          <a:off x="752475" y="1538849"/>
          <a:ext cx="10775430" cy="4154814"/>
        </p:xfrm>
        <a:graphic>
          <a:graphicData uri="http://schemas.openxmlformats.org/drawingml/2006/table">
            <a:tbl>
              <a:tblPr/>
              <a:tblGrid>
                <a:gridCol w="554546">
                  <a:extLst>
                    <a:ext uri="{9D8B030D-6E8A-4147-A177-3AD203B41FA5}">
                      <a16:colId xmlns:a16="http://schemas.microsoft.com/office/drawing/2014/main" val="125407979"/>
                    </a:ext>
                  </a:extLst>
                </a:gridCol>
                <a:gridCol w="1448973">
                  <a:extLst>
                    <a:ext uri="{9D8B030D-6E8A-4147-A177-3AD203B41FA5}">
                      <a16:colId xmlns:a16="http://schemas.microsoft.com/office/drawing/2014/main" val="2980579220"/>
                    </a:ext>
                  </a:extLst>
                </a:gridCol>
                <a:gridCol w="1255833">
                  <a:extLst>
                    <a:ext uri="{9D8B030D-6E8A-4147-A177-3AD203B41FA5}">
                      <a16:colId xmlns:a16="http://schemas.microsoft.com/office/drawing/2014/main" val="1331479773"/>
                    </a:ext>
                  </a:extLst>
                </a:gridCol>
                <a:gridCol w="1178011">
                  <a:extLst>
                    <a:ext uri="{9D8B030D-6E8A-4147-A177-3AD203B41FA5}">
                      <a16:colId xmlns:a16="http://schemas.microsoft.com/office/drawing/2014/main" val="1223529476"/>
                    </a:ext>
                  </a:extLst>
                </a:gridCol>
                <a:gridCol w="5294690">
                  <a:extLst>
                    <a:ext uri="{9D8B030D-6E8A-4147-A177-3AD203B41FA5}">
                      <a16:colId xmlns:a16="http://schemas.microsoft.com/office/drawing/2014/main" val="3732784615"/>
                    </a:ext>
                  </a:extLst>
                </a:gridCol>
                <a:gridCol w="1043377">
                  <a:extLst>
                    <a:ext uri="{9D8B030D-6E8A-4147-A177-3AD203B41FA5}">
                      <a16:colId xmlns:a16="http://schemas.microsoft.com/office/drawing/2014/main" val="1144479847"/>
                    </a:ext>
                  </a:extLst>
                </a:gridCol>
              </a:tblGrid>
              <a:tr h="673180">
                <a:tc>
                  <a:txBody>
                    <a:bodyPr/>
                    <a:lstStyle/>
                    <a:p>
                      <a:pPr algn="l"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Ref</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l"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Risk Description</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Likelihood</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 (</a:t>
                      </a:r>
                      <a:r>
                        <a:rPr lang="en-GB" sz="1100" b="0" i="0" u="none" strike="noStrike" kern="1200">
                          <a:solidFill>
                            <a:schemeClr val="accent6">
                              <a:lumMod val="75000"/>
                            </a:schemeClr>
                          </a:solidFill>
                          <a:effectLst/>
                          <a:latin typeface="Arial" panose="020B0604020202020204" pitchFamily="34" charset="0"/>
                          <a:ea typeface="+mn-ea"/>
                          <a:cs typeface="Arial" panose="020B0604020202020204" pitchFamily="34" charset="0"/>
                        </a:rPr>
                        <a:t>Low</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r>
                        <a:rPr lang="en-GB" sz="1100" b="0" i="0" u="none" strike="noStrike" kern="1200">
                          <a:solidFill>
                            <a:srgbClr val="EF8A22"/>
                          </a:solidFill>
                          <a:effectLst/>
                          <a:latin typeface="Arial" panose="020B0604020202020204" pitchFamily="34" charset="0"/>
                          <a:ea typeface="+mn-ea"/>
                          <a:cs typeface="Arial" panose="020B0604020202020204" pitchFamily="34" charset="0"/>
                        </a:rPr>
                        <a:t>Medium</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r>
                        <a:rPr lang="en-GB" sz="1100" b="0" i="0" u="none" strike="noStrike" kern="1200">
                          <a:solidFill>
                            <a:srgbClr val="C00000"/>
                          </a:solidFill>
                          <a:effectLst/>
                          <a:latin typeface="Arial" panose="020B0604020202020204" pitchFamily="34" charset="0"/>
                          <a:ea typeface="+mn-ea"/>
                          <a:cs typeface="Arial" panose="020B0604020202020204" pitchFamily="34" charset="0"/>
                        </a:rPr>
                        <a:t>High</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Impact</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 (</a:t>
                      </a:r>
                      <a:r>
                        <a:rPr lang="en-GB" sz="1100" b="0" i="0" u="none" strike="noStrike" kern="1200">
                          <a:solidFill>
                            <a:schemeClr val="accent6">
                              <a:lumMod val="75000"/>
                            </a:schemeClr>
                          </a:solidFill>
                          <a:effectLst/>
                          <a:latin typeface="Arial" panose="020B0604020202020204" pitchFamily="34" charset="0"/>
                          <a:ea typeface="+mn-ea"/>
                          <a:cs typeface="Arial" panose="020B0604020202020204" pitchFamily="34" charset="0"/>
                        </a:rPr>
                        <a:t>Low</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r>
                        <a:rPr lang="en-GB" sz="1100" b="0" i="0" u="none" strike="noStrike" kern="1200">
                          <a:solidFill>
                            <a:srgbClr val="EF8A22"/>
                          </a:solidFill>
                          <a:effectLst/>
                          <a:latin typeface="Arial" panose="020B0604020202020204" pitchFamily="34" charset="0"/>
                          <a:ea typeface="+mn-ea"/>
                          <a:cs typeface="Arial" panose="020B0604020202020204" pitchFamily="34" charset="0"/>
                        </a:rPr>
                        <a:t>Medium</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r>
                        <a:rPr lang="en-GB" sz="1100" b="0" i="0" u="none" strike="noStrike" kern="1200">
                          <a:solidFill>
                            <a:srgbClr val="C00000"/>
                          </a:solidFill>
                          <a:effectLst/>
                          <a:latin typeface="Arial" panose="020B0604020202020204" pitchFamily="34" charset="0"/>
                          <a:ea typeface="+mn-ea"/>
                          <a:cs typeface="Arial" panose="020B0604020202020204" pitchFamily="34" charset="0"/>
                        </a:rPr>
                        <a:t>High</a:t>
                      </a:r>
                      <a:r>
                        <a:rPr lang="en-GB" sz="11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l"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Outcome</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l" fontAlgn="ctr"/>
                      <a:r>
                        <a:rPr lang="en-GB" sz="1200" b="1" i="0" u="none" strike="noStrike" kern="1200">
                          <a:solidFill>
                            <a:srgbClr val="000000"/>
                          </a:solidFill>
                          <a:effectLst/>
                          <a:latin typeface="Arial" panose="020B0604020202020204" pitchFamily="34" charset="0"/>
                          <a:ea typeface="+mn-ea"/>
                          <a:cs typeface="Arial" panose="020B0604020202020204" pitchFamily="34" charset="0"/>
                        </a:rPr>
                        <a:t>Status</a:t>
                      </a:r>
                    </a:p>
                  </a:txBody>
                  <a:tcPr marL="137160" marR="137160" marT="137160" marB="1371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63067478"/>
                  </a:ext>
                </a:extLst>
              </a:tr>
              <a:tr h="1216971">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R1</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cs typeface="Arial" panose="020B0604020202020204" pitchFamily="34" charset="0"/>
                        </a:rPr>
                        <a:t>Staff being unavailable due to sickness, absence </a:t>
                      </a:r>
                      <a:r>
                        <a:rPr lang="en-US" sz="1100" b="0" i="0" u="none" strike="noStrike" dirty="0" err="1">
                          <a:solidFill>
                            <a:srgbClr val="000000"/>
                          </a:solidFill>
                          <a:effectLst/>
                          <a:latin typeface="Arial" panose="020B0604020202020204" pitchFamily="34" charset="0"/>
                          <a:cs typeface="Arial" panose="020B0604020202020204" pitchFamily="34" charset="0"/>
                        </a:rPr>
                        <a:t>etc</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Low </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High</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171450" indent="-171450" algn="l" fontAlgn="ctr">
                        <a:buFont typeface="Arial" panose="020B0604020202020204" pitchFamily="34" charset="0"/>
                        <a:buChar char="•"/>
                      </a:pPr>
                      <a:r>
                        <a:rPr lang="en-US" sz="1100" b="0" i="0" u="none" strike="noStrike">
                          <a:solidFill>
                            <a:srgbClr val="000000"/>
                          </a:solidFill>
                          <a:effectLst/>
                          <a:latin typeface="Arial" panose="020B0604020202020204" pitchFamily="34" charset="0"/>
                          <a:cs typeface="Arial" panose="020B0604020202020204" pitchFamily="34" charset="0"/>
                        </a:rPr>
                        <a:t>There were no significant absences</a:t>
                      </a:r>
                    </a:p>
                    <a:p>
                      <a:pPr marL="171450" indent="-171450" algn="l" fontAlgn="ctr">
                        <a:buFont typeface="Arial" panose="020B0604020202020204" pitchFamily="34" charset="0"/>
                        <a:buChar char="•"/>
                      </a:pPr>
                      <a:r>
                        <a:rPr lang="en-US" sz="1100" b="0" i="0" u="none" strike="noStrike">
                          <a:solidFill>
                            <a:srgbClr val="000000"/>
                          </a:solidFill>
                          <a:effectLst/>
                          <a:latin typeface="Arial" panose="020B0604020202020204" pitchFamily="34" charset="0"/>
                          <a:cs typeface="Arial" panose="020B0604020202020204" pitchFamily="34" charset="0"/>
                        </a:rPr>
                        <a:t>Annual leave and bank holidays were proactively manage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indent="0" algn="l" fontAlgn="ctr">
                        <a:buFont typeface="Arial" panose="020B0604020202020204" pitchFamily="34" charset="0"/>
                        <a:buNone/>
                      </a:pPr>
                      <a:r>
                        <a:rPr lang="en-US" sz="1100" b="0" i="0" u="none" strike="noStrike">
                          <a:solidFill>
                            <a:srgbClr val="000000"/>
                          </a:solidFill>
                          <a:effectLst/>
                          <a:latin typeface="Arial" panose="020B0604020202020204" pitchFamily="34" charset="0"/>
                          <a:cs typeface="Arial" panose="020B0604020202020204" pitchFamily="34" charset="0"/>
                        </a:rPr>
                        <a:t>Closed</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3222846"/>
                  </a:ext>
                </a:extLst>
              </a:tr>
              <a:tr h="979668">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R2</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rgbClr val="000000"/>
                          </a:solidFill>
                          <a:effectLst/>
                          <a:latin typeface="Arial" panose="020B0604020202020204" pitchFamily="34" charset="0"/>
                          <a:cs typeface="Arial" panose="020B0604020202020204" pitchFamily="34" charset="0"/>
                        </a:rPr>
                        <a:t>Availability of Local Authorities, Social Housing Providers and Community Energy Groups for engagemen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Medium</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C52F"/>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High</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171450" indent="-171450" algn="l" fontAlgn="ctr">
                        <a:buFont typeface="Arial" panose="020B0604020202020204" pitchFamily="34" charset="0"/>
                        <a:buChar char="•"/>
                      </a:pPr>
                      <a:r>
                        <a:rPr lang="en-US" sz="1100" b="0" i="0" u="none" strike="noStrike">
                          <a:solidFill>
                            <a:srgbClr val="000000"/>
                          </a:solidFill>
                          <a:effectLst/>
                          <a:latin typeface="Arial" panose="020B0604020202020204" pitchFamily="34" charset="0"/>
                          <a:cs typeface="Arial" panose="020B0604020202020204" pitchFamily="34" charset="0"/>
                        </a:rPr>
                        <a:t>Partners collaborated to reach out to a wide number of organisations, to ensure enough stakeholders were engaged with to provide significant feedback</a:t>
                      </a:r>
                    </a:p>
                    <a:p>
                      <a:pPr marL="171450" indent="-171450" algn="l" fontAlgn="ctr">
                        <a:buFont typeface="Arial" panose="020B0604020202020204" pitchFamily="34" charset="0"/>
                        <a:buChar char="•"/>
                      </a:pPr>
                      <a:r>
                        <a:rPr lang="en-US" sz="1100" b="0" i="0" u="none" strike="noStrike">
                          <a:solidFill>
                            <a:srgbClr val="000000"/>
                          </a:solidFill>
                          <a:effectLst/>
                          <a:latin typeface="Arial" panose="020B0604020202020204" pitchFamily="34" charset="0"/>
                          <a:cs typeface="Arial" panose="020B0604020202020204" pitchFamily="34" charset="0"/>
                        </a:rPr>
                        <a:t>Engagement sessions were efficiently planned to make the most of the time available</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indent="0" algn="l" fontAlgn="ctr">
                        <a:buFont typeface="Arial" panose="020B0604020202020204" pitchFamily="34" charset="0"/>
                        <a:buNone/>
                      </a:pPr>
                      <a:r>
                        <a:rPr lang="en-US" sz="1100" b="0" i="0" u="none" strike="noStrike">
                          <a:solidFill>
                            <a:srgbClr val="000000"/>
                          </a:solidFill>
                          <a:effectLst/>
                          <a:latin typeface="Arial" panose="020B0604020202020204" pitchFamily="34" charset="0"/>
                          <a:cs typeface="Arial" panose="020B0604020202020204" pitchFamily="34" charset="0"/>
                        </a:rPr>
                        <a:t>Closed</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3830666"/>
                  </a:ext>
                </a:extLst>
              </a:tr>
              <a:tr h="1139523">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R3</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rgbClr val="000000"/>
                          </a:solidFill>
                          <a:effectLst/>
                          <a:latin typeface="Arial" panose="020B0604020202020204" pitchFamily="34" charset="0"/>
                          <a:cs typeface="Arial" panose="020B0604020202020204" pitchFamily="34" charset="0"/>
                        </a:rPr>
                        <a:t>Availability of data for CBA modelling</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Medium</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Medium</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171450" indent="-171450" algn="l" fontAlgn="ctr">
                        <a:buFont typeface="Arial" panose="020B0604020202020204" pitchFamily="34" charset="0"/>
                        <a:buChar char="•"/>
                      </a:pPr>
                      <a:r>
                        <a:rPr lang="en-US" sz="1100" b="0" i="0" u="none" strike="noStrike">
                          <a:solidFill>
                            <a:srgbClr val="000000"/>
                          </a:solidFill>
                          <a:effectLst/>
                          <a:latin typeface="Arial" panose="020B0604020202020204" pitchFamily="34" charset="0"/>
                          <a:cs typeface="Arial" panose="020B0604020202020204" pitchFamily="34" charset="0"/>
                        </a:rPr>
                        <a:t>Partners shared insight and undertook further research to help shape the CBA modelling and identify trusted publicly available data sources where partner-owned data was not enough.</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indent="0" algn="l" fontAlgn="ctr">
                        <a:buFont typeface="Arial" panose="020B0604020202020204" pitchFamily="34" charset="0"/>
                        <a:buNone/>
                      </a:pPr>
                      <a:r>
                        <a:rPr lang="en-US" sz="1100" b="0" i="0" u="none" strike="noStrike" dirty="0">
                          <a:solidFill>
                            <a:srgbClr val="000000"/>
                          </a:solidFill>
                          <a:effectLst/>
                          <a:latin typeface="Arial" panose="020B0604020202020204" pitchFamily="34" charset="0"/>
                          <a:cs typeface="Arial" panose="020B0604020202020204" pitchFamily="34" charset="0"/>
                        </a:rPr>
                        <a:t>Closed</a:t>
                      </a:r>
                    </a:p>
                  </a:txBody>
                  <a:tcPr marL="108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930414"/>
                  </a:ext>
                </a:extLst>
              </a:tr>
            </a:tbl>
          </a:graphicData>
        </a:graphic>
      </p:graphicFrame>
    </p:spTree>
    <p:extLst>
      <p:ext uri="{BB962C8B-B14F-4D97-AF65-F5344CB8AC3E}">
        <p14:creationId xmlns:p14="http://schemas.microsoft.com/office/powerpoint/2010/main" val="3396005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365565" y="2248196"/>
            <a:ext cx="5019736" cy="1595384"/>
          </a:xfrm>
        </p:spPr>
        <p:txBody>
          <a:bodyPr>
            <a:normAutofit fontScale="90000"/>
          </a:bodyPr>
          <a:lstStyle/>
          <a:p>
            <a:pPr>
              <a:lnSpc>
                <a:spcPct val="150000"/>
              </a:lnSpc>
            </a:pPr>
            <a:r>
              <a:rPr lang="en-GB" sz="5400"/>
              <a:t>Project Overview</a:t>
            </a:r>
          </a:p>
        </p:txBody>
      </p:sp>
    </p:spTree>
    <p:extLst>
      <p:ext uri="{BB962C8B-B14F-4D97-AF65-F5344CB8AC3E}">
        <p14:creationId xmlns:p14="http://schemas.microsoft.com/office/powerpoint/2010/main" val="16714761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DDDA9-BABA-D61E-7FF9-9EF002675A08}"/>
              </a:ext>
            </a:extLst>
          </p:cNvPr>
          <p:cNvSpPr>
            <a:spLocks noGrp="1"/>
          </p:cNvSpPr>
          <p:nvPr>
            <p:ph type="title"/>
          </p:nvPr>
        </p:nvSpPr>
        <p:spPr/>
        <p:txBody>
          <a:bodyPr>
            <a:normAutofit fontScale="90000"/>
          </a:bodyPr>
          <a:lstStyle/>
          <a:p>
            <a:r>
              <a:rPr lang="en-GB"/>
              <a:t>Lessons Learnt</a:t>
            </a:r>
          </a:p>
        </p:txBody>
      </p:sp>
      <p:sp>
        <p:nvSpPr>
          <p:cNvPr id="3" name="Text Placeholder 2">
            <a:extLst>
              <a:ext uri="{FF2B5EF4-FFF2-40B4-BE49-F238E27FC236}">
                <a16:creationId xmlns:a16="http://schemas.microsoft.com/office/drawing/2014/main" id="{15B1CF08-B425-5601-01E9-69C5C463C2DE}"/>
              </a:ext>
            </a:extLst>
          </p:cNvPr>
          <p:cNvSpPr>
            <a:spLocks noGrp="1"/>
          </p:cNvSpPr>
          <p:nvPr>
            <p:ph type="body" sz="quarter" idx="23"/>
          </p:nvPr>
        </p:nvSpPr>
        <p:spPr>
          <a:xfrm>
            <a:off x="465138" y="1411550"/>
            <a:ext cx="10888662" cy="4279036"/>
          </a:xfrm>
        </p:spPr>
        <p:txBody>
          <a:bodyPr>
            <a:normAutofit/>
          </a:bodyPr>
          <a:lstStyle/>
          <a:p>
            <a:pPr>
              <a:lnSpc>
                <a:spcPct val="120000"/>
              </a:lnSpc>
            </a:pPr>
            <a:r>
              <a:rPr lang="en-GB" sz="2400" dirty="0">
                <a:solidFill>
                  <a:schemeClr val="tx1"/>
                </a:solidFill>
              </a:rPr>
              <a:t>Visibility and engagement with other partners work packages can aid deeper understanding of interconnectivity of work packages across the project</a:t>
            </a:r>
          </a:p>
          <a:p>
            <a:pPr>
              <a:lnSpc>
                <a:spcPct val="120000"/>
              </a:lnSpc>
            </a:pPr>
            <a:r>
              <a:rPr lang="en-GB" sz="2400" dirty="0">
                <a:solidFill>
                  <a:schemeClr val="tx1"/>
                </a:solidFill>
              </a:rPr>
              <a:t>Testing assumptions with other partners can help to effectively shape deliverables</a:t>
            </a:r>
          </a:p>
          <a:p>
            <a:pPr>
              <a:lnSpc>
                <a:spcPct val="120000"/>
              </a:lnSpc>
            </a:pPr>
            <a:r>
              <a:rPr lang="en-GB" sz="2400" dirty="0">
                <a:solidFill>
                  <a:schemeClr val="tx1"/>
                </a:solidFill>
              </a:rPr>
              <a:t>Having a firm understanding of factual vs counterfactual (i.e. in this case, a world with or without the Flex Direct proposal) can help to focus the understanding of benefits and impact</a:t>
            </a:r>
            <a:endParaRPr lang="en-GB" sz="2400">
              <a:solidFill>
                <a:schemeClr val="tx1"/>
              </a:solidFill>
            </a:endParaRPr>
          </a:p>
        </p:txBody>
      </p:sp>
    </p:spTree>
    <p:extLst>
      <p:ext uri="{BB962C8B-B14F-4D97-AF65-F5344CB8AC3E}">
        <p14:creationId xmlns:p14="http://schemas.microsoft.com/office/powerpoint/2010/main" val="39052998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303572" y="2248196"/>
            <a:ext cx="6492075" cy="1595384"/>
          </a:xfrm>
        </p:spPr>
        <p:txBody>
          <a:bodyPr>
            <a:normAutofit fontScale="90000"/>
          </a:bodyPr>
          <a:lstStyle/>
          <a:p>
            <a:pPr>
              <a:lnSpc>
                <a:spcPct val="150000"/>
              </a:lnSpc>
            </a:pPr>
            <a:r>
              <a:rPr lang="en-GB" sz="5400"/>
              <a:t>Project Specific Conditions</a:t>
            </a:r>
          </a:p>
        </p:txBody>
      </p:sp>
    </p:spTree>
    <p:extLst>
      <p:ext uri="{BB962C8B-B14F-4D97-AF65-F5344CB8AC3E}">
        <p14:creationId xmlns:p14="http://schemas.microsoft.com/office/powerpoint/2010/main" val="33831779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a:t>Project Specific Conditions</a:t>
            </a:r>
          </a:p>
        </p:txBody>
      </p:sp>
      <p:graphicFrame>
        <p:nvGraphicFramePr>
          <p:cNvPr id="4" name="Table 3">
            <a:extLst>
              <a:ext uri="{FF2B5EF4-FFF2-40B4-BE49-F238E27FC236}">
                <a16:creationId xmlns:a16="http://schemas.microsoft.com/office/drawing/2014/main" id="{27813134-411C-B8D3-949E-3BBA1D2431E3}"/>
              </a:ext>
            </a:extLst>
          </p:cNvPr>
          <p:cNvGraphicFramePr>
            <a:graphicFrameLocks noGrp="1"/>
          </p:cNvGraphicFramePr>
          <p:nvPr>
            <p:extLst>
              <p:ext uri="{D42A27DB-BD31-4B8C-83A1-F6EECF244321}">
                <p14:modId xmlns:p14="http://schemas.microsoft.com/office/powerpoint/2010/main" val="1401616979"/>
              </p:ext>
            </p:extLst>
          </p:nvPr>
        </p:nvGraphicFramePr>
        <p:xfrm>
          <a:off x="608247" y="1243541"/>
          <a:ext cx="11154666" cy="3765360"/>
        </p:xfrm>
        <a:graphic>
          <a:graphicData uri="http://schemas.openxmlformats.org/drawingml/2006/table">
            <a:tbl>
              <a:tblPr firstRow="1" bandRow="1">
                <a:tableStyleId>{72833802-FEF1-4C79-8D5D-14CF1EAF98D9}</a:tableStyleId>
              </a:tblPr>
              <a:tblGrid>
                <a:gridCol w="1228673">
                  <a:extLst>
                    <a:ext uri="{9D8B030D-6E8A-4147-A177-3AD203B41FA5}">
                      <a16:colId xmlns:a16="http://schemas.microsoft.com/office/drawing/2014/main" val="3319005981"/>
                    </a:ext>
                  </a:extLst>
                </a:gridCol>
                <a:gridCol w="5498652">
                  <a:extLst>
                    <a:ext uri="{9D8B030D-6E8A-4147-A177-3AD203B41FA5}">
                      <a16:colId xmlns:a16="http://schemas.microsoft.com/office/drawing/2014/main" val="4013216074"/>
                    </a:ext>
                  </a:extLst>
                </a:gridCol>
                <a:gridCol w="4427341">
                  <a:extLst>
                    <a:ext uri="{9D8B030D-6E8A-4147-A177-3AD203B41FA5}">
                      <a16:colId xmlns:a16="http://schemas.microsoft.com/office/drawing/2014/main" val="335187077"/>
                    </a:ext>
                  </a:extLst>
                </a:gridCol>
              </a:tblGrid>
              <a:tr h="504000">
                <a:tc>
                  <a:txBody>
                    <a:bodyPr/>
                    <a:lstStyle/>
                    <a:p>
                      <a:pPr algn="ctr"/>
                      <a:r>
                        <a:rPr lang="en-GB" sz="1600">
                          <a:latin typeface="Arial" panose="020B0604020202020204" pitchFamily="34" charset="0"/>
                          <a:cs typeface="Arial" panose="020B0604020202020204" pitchFamily="34" charset="0"/>
                        </a:rPr>
                        <a:t>Condition</a:t>
                      </a:r>
                    </a:p>
                  </a:txBody>
                  <a:tcPr anchor="ctr"/>
                </a:tc>
                <a:tc>
                  <a:txBody>
                    <a:bodyPr/>
                    <a:lstStyle/>
                    <a:p>
                      <a:r>
                        <a:rPr lang="en-GB" sz="1600">
                          <a:latin typeface="Arial" panose="020B0604020202020204" pitchFamily="34" charset="0"/>
                          <a:cs typeface="Arial" panose="020B0604020202020204" pitchFamily="34" charset="0"/>
                        </a:rPr>
                        <a:t>Description</a:t>
                      </a:r>
                    </a:p>
                  </a:txBody>
                  <a:tcPr anchor="ctr"/>
                </a:tc>
                <a:tc>
                  <a:txBody>
                    <a:bodyPr/>
                    <a:lstStyle/>
                    <a:p>
                      <a:r>
                        <a:rPr lang="en-GB" sz="1600">
                          <a:latin typeface="Arial" panose="020B0604020202020204" pitchFamily="34" charset="0"/>
                          <a:cs typeface="Arial" panose="020B0604020202020204" pitchFamily="34" charset="0"/>
                        </a:rPr>
                        <a:t>Update</a:t>
                      </a:r>
                    </a:p>
                  </a:txBody>
                  <a:tcPr anchor="ctr"/>
                </a:tc>
                <a:extLst>
                  <a:ext uri="{0D108BD9-81ED-4DB2-BD59-A6C34878D82A}">
                    <a16:rowId xmlns:a16="http://schemas.microsoft.com/office/drawing/2014/main" val="1875011828"/>
                  </a:ext>
                </a:extLst>
              </a:tr>
              <a:tr h="648000">
                <a:tc>
                  <a:txBody>
                    <a:bodyPr/>
                    <a:lstStyle/>
                    <a:p>
                      <a:pPr algn="ctr"/>
                      <a:r>
                        <a:rPr lang="en-GB" sz="1800">
                          <a:solidFill>
                            <a:schemeClr val="bg1"/>
                          </a:solidFill>
                          <a:latin typeface="Arial" panose="020B0604020202020204" pitchFamily="34" charset="0"/>
                          <a:cs typeface="Arial" panose="020B0604020202020204" pitchFamily="34" charset="0"/>
                        </a:rPr>
                        <a:t>1</a:t>
                      </a:r>
                    </a:p>
                  </a:txBody>
                  <a:tcPr marL="137160" marR="137160" marT="137160" marB="1371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unding Party must not spend any SIF Funding until contracts are signed with the Project Partners.</a:t>
                      </a: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lete</a:t>
                      </a: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37160" marR="137160" marT="137160" marB="1371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102492498"/>
                  </a:ext>
                </a:extLst>
              </a:tr>
              <a:tr h="648000">
                <a:tc>
                  <a:txBody>
                    <a:bodyPr/>
                    <a:lstStyle/>
                    <a:p>
                      <a:pPr algn="ctr"/>
                      <a:r>
                        <a:rPr lang="en-GB" sz="1800">
                          <a:solidFill>
                            <a:schemeClr val="bg1"/>
                          </a:solidFill>
                          <a:latin typeface="Arial" panose="020B0604020202020204" pitchFamily="34" charset="0"/>
                          <a:cs typeface="Arial" panose="020B0604020202020204" pitchFamily="34" charset="0"/>
                        </a:rPr>
                        <a:t>2</a:t>
                      </a:r>
                    </a:p>
                  </a:txBody>
                  <a:tcPr marL="137160" marR="137160" marT="137160" marB="1371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The Funding Party must report on the financial contributions made to the Project as set out in its Application. Any financial contributions made over and above that stated in its Application should also be reported and included within the Project costs template. </a:t>
                      </a:r>
                      <a:endParaRPr lang="en-GB" sz="2400" dirty="0">
                        <a:latin typeface="Arial" panose="020B0604020202020204" pitchFamily="34" charset="0"/>
                        <a:cs typeface="Arial" panose="020B0604020202020204" pitchFamily="34"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GB" sz="1600">
                          <a:latin typeface="Arial" panose="020B0604020202020204" pitchFamily="34" charset="0"/>
                          <a:cs typeface="Arial" panose="020B0604020202020204" pitchFamily="34" charset="0"/>
                        </a:rPr>
                        <a:t>On track</a:t>
                      </a:r>
                    </a:p>
                  </a:txBody>
                  <a:tcPr marL="137160" marR="137160" marT="137160" marB="1371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98998495"/>
                  </a:ext>
                </a:extLst>
              </a:tr>
              <a:tr h="648000">
                <a:tc>
                  <a:txBody>
                    <a:bodyPr/>
                    <a:lstStyle/>
                    <a:p>
                      <a:pPr algn="ctr"/>
                      <a:r>
                        <a:rPr lang="en-GB" sz="1800">
                          <a:solidFill>
                            <a:schemeClr val="bg1"/>
                          </a:solidFill>
                          <a:latin typeface="Arial" panose="020B0604020202020204" pitchFamily="34" charset="0"/>
                          <a:cs typeface="Arial" panose="020B0604020202020204" pitchFamily="34" charset="0"/>
                        </a:rPr>
                        <a:t>3</a:t>
                      </a:r>
                    </a:p>
                  </a:txBody>
                  <a:tcPr marL="137160" marR="137160" marT="137160" marB="1371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B050"/>
                    </a:solidFill>
                  </a:tcPr>
                </a:tc>
                <a:tc>
                  <a:txBody>
                    <a:bodyPr/>
                    <a:lstStyle/>
                    <a:p>
                      <a:r>
                        <a:rPr lang="en-US" sz="1600" b="0" i="0" u="none" strike="noStrike" kern="1200" baseline="0">
                          <a:solidFill>
                            <a:schemeClr val="tx1"/>
                          </a:solidFill>
                          <a:latin typeface="Arial" panose="020B0604020202020204" pitchFamily="34" charset="0"/>
                          <a:ea typeface="+mn-ea"/>
                          <a:cs typeface="Arial" panose="020B0604020202020204" pitchFamily="34" charset="0"/>
                        </a:rPr>
                        <a:t>The Funding Party must participate in all meetings related to the Project that they are invited to by Ofgem, UKRI and BEIS during the Project Phase. </a:t>
                      </a:r>
                      <a:endParaRPr lang="en-GB" sz="2400">
                        <a:latin typeface="Arial" panose="020B0604020202020204" pitchFamily="34" charset="0"/>
                        <a:cs typeface="Arial" panose="020B0604020202020204" pitchFamily="34"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GB" sz="1600" dirty="0">
                          <a:latin typeface="Arial" panose="020B0604020202020204" pitchFamily="34" charset="0"/>
                          <a:cs typeface="Arial" panose="020B0604020202020204" pitchFamily="34" charset="0"/>
                        </a:rPr>
                        <a:t>On track</a:t>
                      </a:r>
                    </a:p>
                  </a:txBody>
                  <a:tcPr marL="137160" marR="137160" marT="137160" marB="1371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53831949"/>
                  </a:ext>
                </a:extLst>
              </a:tr>
            </a:tbl>
          </a:graphicData>
        </a:graphic>
      </p:graphicFrame>
    </p:spTree>
    <p:extLst>
      <p:ext uri="{BB962C8B-B14F-4D97-AF65-F5344CB8AC3E}">
        <p14:creationId xmlns:p14="http://schemas.microsoft.com/office/powerpoint/2010/main" val="4675115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a:t>Project Specific Conditions</a:t>
            </a:r>
          </a:p>
        </p:txBody>
      </p:sp>
      <p:graphicFrame>
        <p:nvGraphicFramePr>
          <p:cNvPr id="4" name="Table 3">
            <a:extLst>
              <a:ext uri="{FF2B5EF4-FFF2-40B4-BE49-F238E27FC236}">
                <a16:creationId xmlns:a16="http://schemas.microsoft.com/office/drawing/2014/main" id="{9099E53B-D93B-FF37-8BAD-D8DAD4097D67}"/>
              </a:ext>
            </a:extLst>
          </p:cNvPr>
          <p:cNvGraphicFramePr>
            <a:graphicFrameLocks noGrp="1"/>
          </p:cNvGraphicFramePr>
          <p:nvPr>
            <p:extLst>
              <p:ext uri="{D42A27DB-BD31-4B8C-83A1-F6EECF244321}">
                <p14:modId xmlns:p14="http://schemas.microsoft.com/office/powerpoint/2010/main" val="3715237453"/>
              </p:ext>
            </p:extLst>
          </p:nvPr>
        </p:nvGraphicFramePr>
        <p:xfrm>
          <a:off x="177553" y="1268940"/>
          <a:ext cx="11594237" cy="4359108"/>
        </p:xfrm>
        <a:graphic>
          <a:graphicData uri="http://schemas.openxmlformats.org/drawingml/2006/table">
            <a:tbl>
              <a:tblPr firstRow="1" bandRow="1">
                <a:tableStyleId>{72833802-FEF1-4C79-8D5D-14CF1EAF98D9}</a:tableStyleId>
              </a:tblPr>
              <a:tblGrid>
                <a:gridCol w="1425308">
                  <a:extLst>
                    <a:ext uri="{9D8B030D-6E8A-4147-A177-3AD203B41FA5}">
                      <a16:colId xmlns:a16="http://schemas.microsoft.com/office/drawing/2014/main" val="3319005981"/>
                    </a:ext>
                  </a:extLst>
                </a:gridCol>
                <a:gridCol w="5934281">
                  <a:extLst>
                    <a:ext uri="{9D8B030D-6E8A-4147-A177-3AD203B41FA5}">
                      <a16:colId xmlns:a16="http://schemas.microsoft.com/office/drawing/2014/main" val="4013216074"/>
                    </a:ext>
                  </a:extLst>
                </a:gridCol>
                <a:gridCol w="4234648">
                  <a:extLst>
                    <a:ext uri="{9D8B030D-6E8A-4147-A177-3AD203B41FA5}">
                      <a16:colId xmlns:a16="http://schemas.microsoft.com/office/drawing/2014/main" val="3500319340"/>
                    </a:ext>
                  </a:extLst>
                </a:gridCol>
              </a:tblGrid>
              <a:tr h="612407">
                <a:tc>
                  <a:txBody>
                    <a:bodyPr/>
                    <a:lstStyle/>
                    <a:p>
                      <a:pPr algn="ctr"/>
                      <a:r>
                        <a:rPr lang="en-GB" sz="1600">
                          <a:latin typeface="Arial" panose="020B0604020202020204" pitchFamily="34" charset="0"/>
                          <a:cs typeface="Arial" panose="020B0604020202020204" pitchFamily="34" charset="0"/>
                        </a:rPr>
                        <a:t>Condition</a:t>
                      </a:r>
                    </a:p>
                  </a:txBody>
                  <a:tcPr anchor="ctr"/>
                </a:tc>
                <a:tc>
                  <a:txBody>
                    <a:bodyPr/>
                    <a:lstStyle/>
                    <a:p>
                      <a:r>
                        <a:rPr lang="en-GB" sz="1600">
                          <a:latin typeface="Arial" panose="020B0604020202020204" pitchFamily="34" charset="0"/>
                          <a:cs typeface="Arial" panose="020B0604020202020204" pitchFamily="34" charset="0"/>
                        </a:rPr>
                        <a:t>Description</a:t>
                      </a:r>
                    </a:p>
                  </a:txBody>
                  <a:tcPr anchor="ctr"/>
                </a:tc>
                <a:tc>
                  <a:txBody>
                    <a:bodyPr/>
                    <a:lstStyle/>
                    <a:p>
                      <a:r>
                        <a:rPr lang="en-GB" sz="1600">
                          <a:latin typeface="Arial" panose="020B0604020202020204" pitchFamily="34" charset="0"/>
                          <a:cs typeface="Arial" panose="020B0604020202020204" pitchFamily="34" charset="0"/>
                        </a:rPr>
                        <a:t>Update</a:t>
                      </a:r>
                    </a:p>
                  </a:txBody>
                  <a:tcPr anchor="ctr"/>
                </a:tc>
                <a:extLst>
                  <a:ext uri="{0D108BD9-81ED-4DB2-BD59-A6C34878D82A}">
                    <a16:rowId xmlns:a16="http://schemas.microsoft.com/office/drawing/2014/main" val="1875011828"/>
                  </a:ext>
                </a:extLst>
              </a:tr>
              <a:tr h="15619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a:solidFill>
                            <a:schemeClr val="bg1"/>
                          </a:solidFill>
                          <a:latin typeface="Arial" panose="020B0604020202020204" pitchFamily="34" charset="0"/>
                          <a:cs typeface="Arial" panose="020B0604020202020204" pitchFamily="34" charset="0"/>
                        </a:rPr>
                        <a:t>4</a:t>
                      </a:r>
                    </a:p>
                  </a:txBody>
                  <a:tcPr marT="216000" marB="216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Prior to the completion of the Discovery Phase the Funding Party must present an updated Project plan to the Monitoring Officer assessing impacts on housing tenants, networks and markets.</a:t>
                      </a:r>
                    </a:p>
                  </a:txBody>
                  <a:tcPr marL="137160" marR="137160" marT="216000" marB="21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dirty="0">
                          <a:latin typeface="Arial" panose="020B0604020202020204" pitchFamily="34" charset="0"/>
                          <a:cs typeface="Arial" panose="020B0604020202020204" pitchFamily="34" charset="0"/>
                        </a:rPr>
                        <a:t>Project plan updated to includ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WP1: Considering impact on housing tena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WP2 &amp; WP3: Considering impact on networks and marke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WP4: Considering impact on GB networ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dirty="0">
                          <a:latin typeface="Arial" panose="020B0604020202020204" pitchFamily="34" charset="0"/>
                          <a:cs typeface="Arial" panose="020B0604020202020204" pitchFamily="34" charset="0"/>
                        </a:rPr>
                        <a:t>Updated project plan will be shared as evidence.</a:t>
                      </a:r>
                    </a:p>
                  </a:txBody>
                  <a:tcPr marL="137160" marR="137160" marT="216000" marB="21600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465929431"/>
                  </a:ext>
                </a:extLst>
              </a:tr>
              <a:tr h="18211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a:solidFill>
                            <a:schemeClr val="bg1"/>
                          </a:solidFill>
                          <a:latin typeface="Arial" panose="020B0604020202020204" pitchFamily="34" charset="0"/>
                          <a:cs typeface="Arial" panose="020B0604020202020204" pitchFamily="34" charset="0"/>
                        </a:rPr>
                        <a:t>5</a:t>
                      </a:r>
                    </a:p>
                  </a:txBody>
                  <a:tcPr marT="216000" marB="216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r>
                        <a:rPr lang="en-GB" sz="1400">
                          <a:latin typeface="Arial" panose="020B0604020202020204" pitchFamily="34" charset="0"/>
                          <a:cs typeface="Arial" panose="020B0604020202020204" pitchFamily="34" charset="0"/>
                        </a:rPr>
                        <a:t>Prior to the completion of the Discovery Phase the Funding Party must provide evidence to the Monitoring Officer to show linkages and to understand the duplication risk or knowledge sharing opportunity of the scope of this Project against Discovery Round 3 Projects – EquiFlex and CarbonFlex.</a:t>
                      </a:r>
                    </a:p>
                  </a:txBody>
                  <a:tcPr marL="137160" marR="137160" marT="216000" marB="21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GB" sz="1400" dirty="0">
                          <a:latin typeface="Arial" panose="020B0604020202020204" pitchFamily="34" charset="0"/>
                          <a:cs typeface="Arial" panose="020B0604020202020204" pitchFamily="34" charset="0"/>
                        </a:rPr>
                        <a:t>Project managers of Flex Direct, </a:t>
                      </a:r>
                      <a:r>
                        <a:rPr lang="en-GB" sz="1400" dirty="0" err="1">
                          <a:latin typeface="Arial" panose="020B0604020202020204" pitchFamily="34" charset="0"/>
                          <a:cs typeface="Arial" panose="020B0604020202020204" pitchFamily="34" charset="0"/>
                        </a:rPr>
                        <a:t>Equiflex</a:t>
                      </a:r>
                      <a:r>
                        <a:rPr lang="en-GB" sz="1400" dirty="0">
                          <a:latin typeface="Arial" panose="020B0604020202020204" pitchFamily="34" charset="0"/>
                          <a:cs typeface="Arial" panose="020B0604020202020204" pitchFamily="34" charset="0"/>
                        </a:rPr>
                        <a:t> &amp; </a:t>
                      </a:r>
                      <a:r>
                        <a:rPr lang="en-GB" sz="1400" dirty="0" err="1">
                          <a:latin typeface="Arial" panose="020B0604020202020204" pitchFamily="34" charset="0"/>
                          <a:cs typeface="Arial" panose="020B0604020202020204" pitchFamily="34" charset="0"/>
                        </a:rPr>
                        <a:t>CarbonFlex</a:t>
                      </a:r>
                      <a:r>
                        <a:rPr lang="en-GB" sz="1400" dirty="0">
                          <a:latin typeface="Arial" panose="020B0604020202020204" pitchFamily="34" charset="0"/>
                          <a:cs typeface="Arial" panose="020B0604020202020204" pitchFamily="34" charset="0"/>
                        </a:rPr>
                        <a:t> met to identify linkages, clarify different aims of projects and identify knowledge sharing opportunities.</a:t>
                      </a:r>
                    </a:p>
                    <a:p>
                      <a:r>
                        <a:rPr lang="en-GB" sz="1400" dirty="0">
                          <a:latin typeface="Arial" panose="020B0604020202020204" pitchFamily="34" charset="0"/>
                          <a:cs typeface="Arial" panose="020B0604020202020204" pitchFamily="34" charset="0"/>
                        </a:rPr>
                        <a:t>Document provided to evidence this.</a:t>
                      </a:r>
                    </a:p>
                  </a:txBody>
                  <a:tcPr marL="137160" marR="137160" marT="216000" marB="21600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87098863"/>
                  </a:ext>
                </a:extLst>
              </a:tr>
            </a:tbl>
          </a:graphicData>
        </a:graphic>
      </p:graphicFrame>
    </p:spTree>
    <p:extLst>
      <p:ext uri="{BB962C8B-B14F-4D97-AF65-F5344CB8AC3E}">
        <p14:creationId xmlns:p14="http://schemas.microsoft.com/office/powerpoint/2010/main" val="2831850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303572" y="2248196"/>
            <a:ext cx="6492075" cy="1595384"/>
          </a:xfrm>
        </p:spPr>
        <p:txBody>
          <a:bodyPr>
            <a:normAutofit/>
          </a:bodyPr>
          <a:lstStyle/>
          <a:p>
            <a:pPr>
              <a:lnSpc>
                <a:spcPct val="150000"/>
              </a:lnSpc>
            </a:pPr>
            <a:r>
              <a:rPr lang="en-GB" sz="5400"/>
              <a:t>Next Steps</a:t>
            </a:r>
          </a:p>
        </p:txBody>
      </p:sp>
    </p:spTree>
    <p:extLst>
      <p:ext uri="{BB962C8B-B14F-4D97-AF65-F5344CB8AC3E}">
        <p14:creationId xmlns:p14="http://schemas.microsoft.com/office/powerpoint/2010/main" val="2950368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CE264-E582-97BB-979B-6AEC15AF7376}"/>
              </a:ext>
            </a:extLst>
          </p:cNvPr>
          <p:cNvSpPr>
            <a:spLocks noGrp="1"/>
          </p:cNvSpPr>
          <p:nvPr>
            <p:ph type="title"/>
          </p:nvPr>
        </p:nvSpPr>
        <p:spPr/>
        <p:txBody>
          <a:bodyPr>
            <a:normAutofit fontScale="90000"/>
          </a:bodyPr>
          <a:lstStyle/>
          <a:p>
            <a:r>
              <a:rPr lang="en-GB"/>
              <a:t>Next Steps</a:t>
            </a:r>
          </a:p>
        </p:txBody>
      </p:sp>
      <p:sp>
        <p:nvSpPr>
          <p:cNvPr id="26" name="TextBox 25">
            <a:extLst>
              <a:ext uri="{FF2B5EF4-FFF2-40B4-BE49-F238E27FC236}">
                <a16:creationId xmlns:a16="http://schemas.microsoft.com/office/drawing/2014/main" id="{F0283CA4-15F5-FCD2-462B-3A7FC5484533}"/>
              </a:ext>
            </a:extLst>
          </p:cNvPr>
          <p:cNvSpPr txBox="1"/>
          <p:nvPr/>
        </p:nvSpPr>
        <p:spPr>
          <a:xfrm>
            <a:off x="492748" y="1061957"/>
            <a:ext cx="11257818" cy="2339102"/>
          </a:xfrm>
          <a:prstGeom prst="rect">
            <a:avLst/>
          </a:prstGeom>
          <a:noFill/>
        </p:spPr>
        <p:txBody>
          <a:bodyPr wrap="square">
            <a:spAutoFit/>
          </a:bodyPr>
          <a:lstStyle/>
          <a:p>
            <a:pPr marL="285750" indent="-285750" algn="just">
              <a:buFont typeface="Arial" panose="020B0604020202020204" pitchFamily="34" charset="0"/>
              <a:buChar char="•"/>
            </a:pPr>
            <a:r>
              <a:rPr lang="en-GB" sz="1600" b="1" dirty="0"/>
              <a:t>The current Sustain* flexibility product is not seeing high uptake of energy efficiency measure use cases. The potential benefits of large-scale energy efficiency measures resulting in large-scale measurable avoided network reinforcement remains an untapped space. There will be value in UK Power Networks developing a large-scale trial to assess the potential whole-system benefits. </a:t>
            </a:r>
          </a:p>
          <a:p>
            <a:pPr marL="285750" indent="-285750" algn="just">
              <a:buFont typeface="Arial" panose="020B0604020202020204" pitchFamily="34" charset="0"/>
              <a:buChar char="•"/>
            </a:pPr>
            <a:endParaRPr lang="en-GB" sz="1600" b="1" dirty="0"/>
          </a:p>
          <a:p>
            <a:pPr marL="285750" indent="-285750" algn="just">
              <a:buFont typeface="Arial" panose="020B0604020202020204" pitchFamily="34" charset="0"/>
              <a:buChar char="•"/>
            </a:pPr>
            <a:r>
              <a:rPr lang="en-GB" sz="1600" b="1" dirty="0"/>
              <a:t>If a large-scale Sustain energy efficiency trial is successful for both DSO and the housing provider, this can help to stimulate market-awareness as well as provide clarity on appropriate contractual duration and payment reward regimes.</a:t>
            </a:r>
          </a:p>
          <a:p>
            <a:pPr>
              <a:defRPr/>
            </a:pPr>
            <a:r>
              <a:rPr lang="en-GB" sz="1700" b="1" dirty="0"/>
              <a:t> </a:t>
            </a:r>
          </a:p>
          <a:p>
            <a:pPr>
              <a:defRPr/>
            </a:pPr>
            <a:endParaRPr kumimoji="0" lang="en-GB" sz="1700" b="0" i="0" u="none" strike="noStrike" kern="1200" cap="none" spc="0" normalizeH="0" baseline="0" noProof="0" dirty="0">
              <a:ln>
                <a:noFill/>
              </a:ln>
              <a:effectLst/>
              <a:uLnTx/>
              <a:uFillTx/>
              <a:ea typeface="+mn-ea"/>
              <a:cs typeface="+mn-cs"/>
            </a:endParaRPr>
          </a:p>
        </p:txBody>
      </p:sp>
      <p:sp>
        <p:nvSpPr>
          <p:cNvPr id="4" name="Rectangle: Rounded Corners 3">
            <a:extLst>
              <a:ext uri="{FF2B5EF4-FFF2-40B4-BE49-F238E27FC236}">
                <a16:creationId xmlns:a16="http://schemas.microsoft.com/office/drawing/2014/main" id="{7E093138-EB9B-ADC8-9B90-EAA3C906508F}"/>
              </a:ext>
            </a:extLst>
          </p:cNvPr>
          <p:cNvSpPr/>
          <p:nvPr/>
        </p:nvSpPr>
        <p:spPr>
          <a:xfrm>
            <a:off x="3390900" y="2971801"/>
            <a:ext cx="885986" cy="914020"/>
          </a:xfrm>
          <a:prstGeom prst="roundRect">
            <a:avLst/>
          </a:prstGeom>
          <a:solidFill>
            <a:srgbClr val="7911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1</a:t>
            </a:r>
          </a:p>
        </p:txBody>
      </p:sp>
      <p:sp>
        <p:nvSpPr>
          <p:cNvPr id="7" name="Rectangle: Rounded Corners 6">
            <a:extLst>
              <a:ext uri="{FF2B5EF4-FFF2-40B4-BE49-F238E27FC236}">
                <a16:creationId xmlns:a16="http://schemas.microsoft.com/office/drawing/2014/main" id="{370B6213-AB43-4F50-3317-EDD4A0EED0B6}"/>
              </a:ext>
            </a:extLst>
          </p:cNvPr>
          <p:cNvSpPr/>
          <p:nvPr/>
        </p:nvSpPr>
        <p:spPr>
          <a:xfrm>
            <a:off x="4396978" y="2971801"/>
            <a:ext cx="5702784" cy="914020"/>
          </a:xfrm>
          <a:prstGeom prst="roundRect">
            <a:avLst/>
          </a:prstGeom>
          <a:solidFill>
            <a:srgbClr val="ED7D31"/>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1400" b="1"/>
              <a:t>Identify Flexibility Zones with multi-year flexibility requirements which may be appropriate for Sustain delivered from large-scale energy efficiency measures</a:t>
            </a:r>
          </a:p>
        </p:txBody>
      </p:sp>
      <p:sp>
        <p:nvSpPr>
          <p:cNvPr id="8" name="Rectangle: Rounded Corners 7">
            <a:extLst>
              <a:ext uri="{FF2B5EF4-FFF2-40B4-BE49-F238E27FC236}">
                <a16:creationId xmlns:a16="http://schemas.microsoft.com/office/drawing/2014/main" id="{93D62C5A-4FDC-992D-2B9D-C8103AAFCC3D}"/>
              </a:ext>
            </a:extLst>
          </p:cNvPr>
          <p:cNvSpPr/>
          <p:nvPr/>
        </p:nvSpPr>
        <p:spPr>
          <a:xfrm>
            <a:off x="4396978" y="4156490"/>
            <a:ext cx="5702784" cy="914020"/>
          </a:xfrm>
          <a:prstGeom prst="roundRect">
            <a:avLst/>
          </a:prstGeom>
          <a:solidFill>
            <a:srgbClr val="ED7D31"/>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1400" b="1" dirty="0"/>
              <a:t>Develop partnership with Social Housing Provider, Energy Management Company (covering social housing) or a Local Authority with large energy efficiency delivery portfolios (e.g. awarded £4m to improve energy efficiency for 1,000 dwellings over two years)</a:t>
            </a:r>
          </a:p>
        </p:txBody>
      </p:sp>
      <p:sp>
        <p:nvSpPr>
          <p:cNvPr id="9" name="Rectangle: Rounded Corners 8">
            <a:extLst>
              <a:ext uri="{FF2B5EF4-FFF2-40B4-BE49-F238E27FC236}">
                <a16:creationId xmlns:a16="http://schemas.microsoft.com/office/drawing/2014/main" id="{8ED82EAC-1085-7B96-0544-B90FF0D1DC83}"/>
              </a:ext>
            </a:extLst>
          </p:cNvPr>
          <p:cNvSpPr/>
          <p:nvPr/>
        </p:nvSpPr>
        <p:spPr>
          <a:xfrm>
            <a:off x="4396978" y="5341179"/>
            <a:ext cx="5702784" cy="914020"/>
          </a:xfrm>
          <a:prstGeom prst="roundRect">
            <a:avLst/>
          </a:prstGeom>
          <a:solidFill>
            <a:srgbClr val="ED7D31"/>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1400" b="1"/>
              <a:t>Target a joined-up delivery trial (e.g. minimum of 500 customers) which influences how a local authority, energy management company or social housing provider prioritises the delivery to align with flexibility requirements. </a:t>
            </a:r>
          </a:p>
        </p:txBody>
      </p:sp>
      <p:sp>
        <p:nvSpPr>
          <p:cNvPr id="10" name="Freeform: Shape 9">
            <a:extLst>
              <a:ext uri="{FF2B5EF4-FFF2-40B4-BE49-F238E27FC236}">
                <a16:creationId xmlns:a16="http://schemas.microsoft.com/office/drawing/2014/main" id="{0B19F618-D0BC-6433-E3E3-1392813313E8}"/>
              </a:ext>
            </a:extLst>
          </p:cNvPr>
          <p:cNvSpPr/>
          <p:nvPr/>
        </p:nvSpPr>
        <p:spPr>
          <a:xfrm>
            <a:off x="1085850" y="3816517"/>
            <a:ext cx="1979060" cy="2471359"/>
          </a:xfrm>
          <a:custGeom>
            <a:avLst/>
            <a:gdLst>
              <a:gd name="connsiteX0" fmla="*/ 1769329 w 1979060"/>
              <a:gd name="connsiteY0" fmla="*/ 3265 h 2471359"/>
              <a:gd name="connsiteX1" fmla="*/ 306500 w 1979060"/>
              <a:gd name="connsiteY1" fmla="*/ 0 h 2471359"/>
              <a:gd name="connsiteX2" fmla="*/ 0 w 1979060"/>
              <a:gd name="connsiteY2" fmla="*/ 2471360 h 2471359"/>
              <a:gd name="connsiteX3" fmla="*/ 1979061 w 1979060"/>
              <a:gd name="connsiteY3" fmla="*/ 2470034 h 2471359"/>
              <a:gd name="connsiteX4" fmla="*/ 1769329 w 1979060"/>
              <a:gd name="connsiteY4" fmla="*/ 3265 h 2471359"/>
              <a:gd name="connsiteX5" fmla="*/ 1094804 w 1979060"/>
              <a:gd name="connsiteY5" fmla="*/ 2393009 h 2471359"/>
              <a:gd name="connsiteX6" fmla="*/ 1006389 w 1979060"/>
              <a:gd name="connsiteY6" fmla="*/ 2393009 h 2471359"/>
              <a:gd name="connsiteX7" fmla="*/ 1006389 w 1979060"/>
              <a:gd name="connsiteY7" fmla="*/ 10457 h 2471359"/>
              <a:gd name="connsiteX8" fmla="*/ 1094804 w 1979060"/>
              <a:gd name="connsiteY8" fmla="*/ 10457 h 2471359"/>
              <a:gd name="connsiteX9" fmla="*/ 1094804 w 1979060"/>
              <a:gd name="connsiteY9" fmla="*/ 2393009 h 2471359"/>
              <a:gd name="connsiteX10" fmla="*/ 1425955 w 1979060"/>
              <a:gd name="connsiteY10" fmla="*/ 460157 h 2471359"/>
              <a:gd name="connsiteX11" fmla="*/ 1425955 w 1979060"/>
              <a:gd name="connsiteY11" fmla="*/ 342070 h 2471359"/>
              <a:gd name="connsiteX12" fmla="*/ 1425955 w 1979060"/>
              <a:gd name="connsiteY12" fmla="*/ 460157 h 247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9060" h="2471359">
                <a:moveTo>
                  <a:pt x="1769329" y="3265"/>
                </a:moveTo>
                <a:cubicBezTo>
                  <a:pt x="1281719" y="2142"/>
                  <a:pt x="794110" y="1071"/>
                  <a:pt x="306500" y="0"/>
                </a:cubicBezTo>
                <a:cubicBezTo>
                  <a:pt x="204334" y="823753"/>
                  <a:pt x="102167" y="1647556"/>
                  <a:pt x="0" y="2471360"/>
                </a:cubicBezTo>
                <a:cubicBezTo>
                  <a:pt x="659653" y="2470952"/>
                  <a:pt x="1319357" y="2470492"/>
                  <a:pt x="1979061" y="2470034"/>
                </a:cubicBezTo>
                <a:cubicBezTo>
                  <a:pt x="1909133" y="1647760"/>
                  <a:pt x="1839206" y="825487"/>
                  <a:pt x="1769329" y="3265"/>
                </a:cubicBezTo>
                <a:close/>
                <a:moveTo>
                  <a:pt x="1094804" y="2393009"/>
                </a:moveTo>
                <a:lnTo>
                  <a:pt x="1006389" y="2393009"/>
                </a:lnTo>
                <a:lnTo>
                  <a:pt x="1006389" y="10457"/>
                </a:lnTo>
                <a:lnTo>
                  <a:pt x="1094804" y="10457"/>
                </a:lnTo>
                <a:lnTo>
                  <a:pt x="1094804" y="2393009"/>
                </a:lnTo>
                <a:close/>
                <a:moveTo>
                  <a:pt x="1425955" y="460157"/>
                </a:moveTo>
                <a:cubicBezTo>
                  <a:pt x="1349508" y="461228"/>
                  <a:pt x="1349508" y="340999"/>
                  <a:pt x="1425955" y="342070"/>
                </a:cubicBezTo>
                <a:cubicBezTo>
                  <a:pt x="1502453" y="341050"/>
                  <a:pt x="1502453" y="461228"/>
                  <a:pt x="1425955" y="460157"/>
                </a:cubicBezTo>
                <a:close/>
              </a:path>
            </a:pathLst>
          </a:custGeom>
          <a:solidFill>
            <a:srgbClr val="F8CBAD"/>
          </a:solidFill>
          <a:ln w="5093"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A99D90E2-3ED1-2A28-42EB-AE09F1EBD49D}"/>
              </a:ext>
            </a:extLst>
          </p:cNvPr>
          <p:cNvSpPr/>
          <p:nvPr/>
        </p:nvSpPr>
        <p:spPr>
          <a:xfrm>
            <a:off x="1396934" y="2979451"/>
            <a:ext cx="1458193" cy="779680"/>
          </a:xfrm>
          <a:custGeom>
            <a:avLst/>
            <a:gdLst>
              <a:gd name="connsiteX0" fmla="*/ 1458194 w 1458193"/>
              <a:gd name="connsiteY0" fmla="*/ 779680 h 779680"/>
              <a:gd name="connsiteX1" fmla="*/ 0 w 1458193"/>
              <a:gd name="connsiteY1" fmla="*/ 779680 h 779680"/>
              <a:gd name="connsiteX2" fmla="*/ 69367 w 1458193"/>
              <a:gd name="connsiteY2" fmla="*/ 0 h 779680"/>
              <a:gd name="connsiteX3" fmla="*/ 1387146 w 1458193"/>
              <a:gd name="connsiteY3" fmla="*/ 0 h 779680"/>
            </a:gdLst>
            <a:ahLst/>
            <a:cxnLst>
              <a:cxn ang="0">
                <a:pos x="connsiteX0" y="connsiteY0"/>
              </a:cxn>
              <a:cxn ang="0">
                <a:pos x="connsiteX1" y="connsiteY1"/>
              </a:cxn>
              <a:cxn ang="0">
                <a:pos x="connsiteX2" y="connsiteY2"/>
              </a:cxn>
              <a:cxn ang="0">
                <a:pos x="connsiteX3" y="connsiteY3"/>
              </a:cxn>
            </a:cxnLst>
            <a:rect l="l" t="t" r="r" b="b"/>
            <a:pathLst>
              <a:path w="1458193" h="779680">
                <a:moveTo>
                  <a:pt x="1458194" y="779680"/>
                </a:moveTo>
                <a:lnTo>
                  <a:pt x="0" y="779680"/>
                </a:lnTo>
                <a:lnTo>
                  <a:pt x="69367" y="0"/>
                </a:lnTo>
                <a:lnTo>
                  <a:pt x="1387146" y="0"/>
                </a:lnTo>
                <a:close/>
              </a:path>
            </a:pathLst>
          </a:custGeom>
          <a:solidFill>
            <a:srgbClr val="FFFFFF"/>
          </a:solidFill>
          <a:ln w="5093" cap="flat">
            <a:noFill/>
            <a:prstDash val="solid"/>
            <a:miter/>
          </a:ln>
          <a:effectLst>
            <a:glow rad="228600">
              <a:schemeClr val="accent2">
                <a:satMod val="175000"/>
                <a:alpha val="40000"/>
              </a:schemeClr>
            </a:glow>
          </a:effectLst>
        </p:spPr>
        <p:txBody>
          <a:bodyPr rtlCol="0" anchor="ctr"/>
          <a:lstStyle/>
          <a:p>
            <a:endParaRPr lang="en-GB"/>
          </a:p>
        </p:txBody>
      </p:sp>
      <p:sp>
        <p:nvSpPr>
          <p:cNvPr id="12" name="Freeform: Shape 11">
            <a:extLst>
              <a:ext uri="{FF2B5EF4-FFF2-40B4-BE49-F238E27FC236}">
                <a16:creationId xmlns:a16="http://schemas.microsoft.com/office/drawing/2014/main" id="{312CE077-FB0D-8CED-9735-334A8E70A61E}"/>
              </a:ext>
            </a:extLst>
          </p:cNvPr>
          <p:cNvSpPr/>
          <p:nvPr/>
        </p:nvSpPr>
        <p:spPr>
          <a:xfrm>
            <a:off x="1928858" y="3816517"/>
            <a:ext cx="443931" cy="2393059"/>
          </a:xfrm>
          <a:custGeom>
            <a:avLst/>
            <a:gdLst>
              <a:gd name="connsiteX0" fmla="*/ 102670 w 443931"/>
              <a:gd name="connsiteY0" fmla="*/ 0 h 2393059"/>
              <a:gd name="connsiteX1" fmla="*/ 67885 w 443931"/>
              <a:gd name="connsiteY1" fmla="*/ 638639 h 2393059"/>
              <a:gd name="connsiteX2" fmla="*/ 306444 w 443931"/>
              <a:gd name="connsiteY2" fmla="*/ 714643 h 2393059"/>
              <a:gd name="connsiteX3" fmla="*/ 251795 w 443931"/>
              <a:gd name="connsiteY3" fmla="*/ 2393060 h 2393059"/>
            </a:gdLst>
            <a:ahLst/>
            <a:cxnLst>
              <a:cxn ang="0">
                <a:pos x="connsiteX0" y="connsiteY0"/>
              </a:cxn>
              <a:cxn ang="0">
                <a:pos x="connsiteX1" y="connsiteY1"/>
              </a:cxn>
              <a:cxn ang="0">
                <a:pos x="connsiteX2" y="connsiteY2"/>
              </a:cxn>
              <a:cxn ang="0">
                <a:pos x="connsiteX3" y="connsiteY3"/>
              </a:cxn>
            </a:cxnLst>
            <a:rect l="l" t="t" r="r" b="b"/>
            <a:pathLst>
              <a:path w="443931" h="2393059">
                <a:moveTo>
                  <a:pt x="102670" y="0"/>
                </a:moveTo>
                <a:cubicBezTo>
                  <a:pt x="13032" y="236327"/>
                  <a:pt x="-57710" y="517134"/>
                  <a:pt x="67885" y="638639"/>
                </a:cubicBezTo>
                <a:cubicBezTo>
                  <a:pt x="141327" y="709695"/>
                  <a:pt x="233868" y="679753"/>
                  <a:pt x="306444" y="714643"/>
                </a:cubicBezTo>
                <a:cubicBezTo>
                  <a:pt x="466009" y="791361"/>
                  <a:pt x="531659" y="1182503"/>
                  <a:pt x="251795" y="2393060"/>
                </a:cubicBezTo>
              </a:path>
            </a:pathLst>
          </a:custGeom>
          <a:noFill/>
          <a:ln w="5093" cap="flat">
            <a:solidFill>
              <a:srgbClr val="383838"/>
            </a:solid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97B76EDC-3C5B-80E9-F1F9-E161D2F56C4A}"/>
              </a:ext>
            </a:extLst>
          </p:cNvPr>
          <p:cNvSpPr/>
          <p:nvPr/>
        </p:nvSpPr>
        <p:spPr>
          <a:xfrm>
            <a:off x="2511804" y="3819782"/>
            <a:ext cx="5093" cy="338805"/>
          </a:xfrm>
          <a:custGeom>
            <a:avLst/>
            <a:gdLst>
              <a:gd name="connsiteX0" fmla="*/ 0 w 5093"/>
              <a:gd name="connsiteY0" fmla="*/ 0 h 338805"/>
              <a:gd name="connsiteX1" fmla="*/ 0 w 5093"/>
              <a:gd name="connsiteY1" fmla="*/ 338805 h 338805"/>
            </a:gdLst>
            <a:ahLst/>
            <a:cxnLst>
              <a:cxn ang="0">
                <a:pos x="connsiteX0" y="connsiteY0"/>
              </a:cxn>
              <a:cxn ang="0">
                <a:pos x="connsiteX1" y="connsiteY1"/>
              </a:cxn>
            </a:cxnLst>
            <a:rect l="l" t="t" r="r" b="b"/>
            <a:pathLst>
              <a:path w="5093" h="338805">
                <a:moveTo>
                  <a:pt x="0" y="0"/>
                </a:moveTo>
                <a:lnTo>
                  <a:pt x="0" y="338805"/>
                </a:lnTo>
              </a:path>
            </a:pathLst>
          </a:custGeom>
          <a:ln w="5093" cap="flat">
            <a:solidFill>
              <a:srgbClr val="383838"/>
            </a:solid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CB8302AF-7024-C1FF-4330-6141B7429E78}"/>
              </a:ext>
            </a:extLst>
          </p:cNvPr>
          <p:cNvSpPr/>
          <p:nvPr/>
        </p:nvSpPr>
        <p:spPr>
          <a:xfrm>
            <a:off x="1395167" y="2979401"/>
            <a:ext cx="1458193" cy="766059"/>
          </a:xfrm>
          <a:custGeom>
            <a:avLst/>
            <a:gdLst>
              <a:gd name="connsiteX0" fmla="*/ 1458194 w 1458193"/>
              <a:gd name="connsiteY0" fmla="*/ 840331 h 840330"/>
              <a:gd name="connsiteX1" fmla="*/ 0 w 1458193"/>
              <a:gd name="connsiteY1" fmla="*/ 840331 h 840330"/>
              <a:gd name="connsiteX2" fmla="*/ 69367 w 1458193"/>
              <a:gd name="connsiteY2" fmla="*/ 0 h 840330"/>
              <a:gd name="connsiteX3" fmla="*/ 1387146 w 1458193"/>
              <a:gd name="connsiteY3" fmla="*/ 0 h 840330"/>
            </a:gdLst>
            <a:ahLst/>
            <a:cxnLst>
              <a:cxn ang="0">
                <a:pos x="connsiteX0" y="connsiteY0"/>
              </a:cxn>
              <a:cxn ang="0">
                <a:pos x="connsiteX1" y="connsiteY1"/>
              </a:cxn>
              <a:cxn ang="0">
                <a:pos x="connsiteX2" y="connsiteY2"/>
              </a:cxn>
              <a:cxn ang="0">
                <a:pos x="connsiteX3" y="connsiteY3"/>
              </a:cxn>
            </a:cxnLst>
            <a:rect l="l" t="t" r="r" b="b"/>
            <a:pathLst>
              <a:path w="1458193" h="840330">
                <a:moveTo>
                  <a:pt x="1458194" y="840331"/>
                </a:moveTo>
                <a:lnTo>
                  <a:pt x="0" y="840331"/>
                </a:lnTo>
                <a:lnTo>
                  <a:pt x="69367" y="0"/>
                </a:lnTo>
                <a:lnTo>
                  <a:pt x="1387146" y="0"/>
                </a:lnTo>
                <a:close/>
              </a:path>
            </a:pathLst>
          </a:custGeom>
          <a:solidFill>
            <a:srgbClr val="FFFFFF"/>
          </a:solidFill>
          <a:ln w="15279" cap="flat">
            <a:solidFill>
              <a:srgbClr val="383838"/>
            </a:solidFill>
            <a:prstDash val="solid"/>
            <a:miter/>
          </a:ln>
          <a:effectLst>
            <a:glow rad="101600">
              <a:srgbClr val="FFC000">
                <a:alpha val="60000"/>
              </a:srgbClr>
            </a:glow>
          </a:effectLst>
        </p:spPr>
        <p:txBody>
          <a:bodyPr rtlCol="0" anchor="ctr"/>
          <a:lstStyle/>
          <a:p>
            <a:endParaRPr lang="en-GB"/>
          </a:p>
        </p:txBody>
      </p:sp>
      <p:sp>
        <p:nvSpPr>
          <p:cNvPr id="15" name="Freeform: Shape 14">
            <a:extLst>
              <a:ext uri="{FF2B5EF4-FFF2-40B4-BE49-F238E27FC236}">
                <a16:creationId xmlns:a16="http://schemas.microsoft.com/office/drawing/2014/main" id="{68CA1184-18FA-3666-2E9F-C08D59F049D3}"/>
              </a:ext>
            </a:extLst>
          </p:cNvPr>
          <p:cNvSpPr/>
          <p:nvPr/>
        </p:nvSpPr>
        <p:spPr>
          <a:xfrm>
            <a:off x="2092238" y="3826974"/>
            <a:ext cx="88415" cy="2382552"/>
          </a:xfrm>
          <a:custGeom>
            <a:avLst/>
            <a:gdLst>
              <a:gd name="connsiteX0" fmla="*/ 0 w 88415"/>
              <a:gd name="connsiteY0" fmla="*/ 0 h 2382552"/>
              <a:gd name="connsiteX1" fmla="*/ 88416 w 88415"/>
              <a:gd name="connsiteY1" fmla="*/ 0 h 2382552"/>
              <a:gd name="connsiteX2" fmla="*/ 88416 w 88415"/>
              <a:gd name="connsiteY2" fmla="*/ 2382552 h 2382552"/>
              <a:gd name="connsiteX3" fmla="*/ 0 w 88415"/>
              <a:gd name="connsiteY3" fmla="*/ 2382552 h 2382552"/>
            </a:gdLst>
            <a:ahLst/>
            <a:cxnLst>
              <a:cxn ang="0">
                <a:pos x="connsiteX0" y="connsiteY0"/>
              </a:cxn>
              <a:cxn ang="0">
                <a:pos x="connsiteX1" y="connsiteY1"/>
              </a:cxn>
              <a:cxn ang="0">
                <a:pos x="connsiteX2" y="connsiteY2"/>
              </a:cxn>
              <a:cxn ang="0">
                <a:pos x="connsiteX3" y="connsiteY3"/>
              </a:cxn>
            </a:cxnLst>
            <a:rect l="l" t="t" r="r" b="b"/>
            <a:pathLst>
              <a:path w="88415" h="2382552">
                <a:moveTo>
                  <a:pt x="0" y="0"/>
                </a:moveTo>
                <a:lnTo>
                  <a:pt x="88416" y="0"/>
                </a:lnTo>
                <a:lnTo>
                  <a:pt x="88416" y="2382552"/>
                </a:lnTo>
                <a:lnTo>
                  <a:pt x="0" y="2382552"/>
                </a:lnTo>
                <a:close/>
              </a:path>
            </a:pathLst>
          </a:custGeom>
          <a:solidFill>
            <a:srgbClr val="FFFFFF"/>
          </a:solidFill>
          <a:ln w="30558" cap="flat">
            <a:solidFill>
              <a:srgbClr val="383838"/>
            </a:solid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662BF958-83F5-289B-B9CE-DC763CC02AAB}"/>
              </a:ext>
            </a:extLst>
          </p:cNvPr>
          <p:cNvSpPr/>
          <p:nvPr/>
        </p:nvSpPr>
        <p:spPr>
          <a:xfrm>
            <a:off x="1872014" y="6209526"/>
            <a:ext cx="509764" cy="64272"/>
          </a:xfrm>
          <a:custGeom>
            <a:avLst/>
            <a:gdLst>
              <a:gd name="connsiteX0" fmla="*/ 509764 w 509764"/>
              <a:gd name="connsiteY0" fmla="*/ 64272 h 64272"/>
              <a:gd name="connsiteX1" fmla="*/ 0 w 509764"/>
              <a:gd name="connsiteY1" fmla="*/ 64272 h 64272"/>
              <a:gd name="connsiteX2" fmla="*/ 64173 w 509764"/>
              <a:gd name="connsiteY2" fmla="*/ 0 h 64272"/>
              <a:gd name="connsiteX3" fmla="*/ 445643 w 509764"/>
              <a:gd name="connsiteY3" fmla="*/ 0 h 64272"/>
              <a:gd name="connsiteX4" fmla="*/ 509764 w 509764"/>
              <a:gd name="connsiteY4" fmla="*/ 64272 h 64272"/>
              <a:gd name="connsiteX5" fmla="*/ 509764 w 509764"/>
              <a:gd name="connsiteY5" fmla="*/ 64272 h 6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764" h="64272">
                <a:moveTo>
                  <a:pt x="509764" y="64272"/>
                </a:moveTo>
                <a:lnTo>
                  <a:pt x="0" y="64272"/>
                </a:lnTo>
                <a:cubicBezTo>
                  <a:pt x="0" y="28769"/>
                  <a:pt x="28725" y="0"/>
                  <a:pt x="64173" y="0"/>
                </a:cubicBezTo>
                <a:lnTo>
                  <a:pt x="445643" y="0"/>
                </a:lnTo>
                <a:cubicBezTo>
                  <a:pt x="481039" y="0"/>
                  <a:pt x="509764" y="28769"/>
                  <a:pt x="509764" y="64272"/>
                </a:cubicBezTo>
                <a:lnTo>
                  <a:pt x="509764" y="64272"/>
                </a:lnTo>
                <a:close/>
              </a:path>
            </a:pathLst>
          </a:custGeom>
          <a:solidFill>
            <a:srgbClr val="FFFFFF"/>
          </a:solidFill>
          <a:ln w="15279" cap="flat">
            <a:solidFill>
              <a:srgbClr val="424242"/>
            </a:solid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EC86993-5D58-B48D-7E23-667840347CAE}"/>
              </a:ext>
            </a:extLst>
          </p:cNvPr>
          <p:cNvSpPr/>
          <p:nvPr/>
        </p:nvSpPr>
        <p:spPr>
          <a:xfrm>
            <a:off x="2452870" y="4160194"/>
            <a:ext cx="117918" cy="114886"/>
          </a:xfrm>
          <a:custGeom>
            <a:avLst/>
            <a:gdLst>
              <a:gd name="connsiteX0" fmla="*/ 117911 w 117918"/>
              <a:gd name="connsiteY0" fmla="*/ 57462 h 114886"/>
              <a:gd name="connsiteX1" fmla="*/ 7 w 117918"/>
              <a:gd name="connsiteY1" fmla="*/ 57462 h 114886"/>
              <a:gd name="connsiteX2" fmla="*/ 117911 w 117918"/>
              <a:gd name="connsiteY2" fmla="*/ 57462 h 114886"/>
            </a:gdLst>
            <a:ahLst/>
            <a:cxnLst>
              <a:cxn ang="0">
                <a:pos x="connsiteX0" y="connsiteY0"/>
              </a:cxn>
              <a:cxn ang="0">
                <a:pos x="connsiteX1" y="connsiteY1"/>
              </a:cxn>
              <a:cxn ang="0">
                <a:pos x="connsiteX2" y="connsiteY2"/>
              </a:cxn>
            </a:cxnLst>
            <a:rect l="l" t="t" r="r" b="b"/>
            <a:pathLst>
              <a:path w="117918" h="114886">
                <a:moveTo>
                  <a:pt x="117911" y="57462"/>
                </a:moveTo>
                <a:cubicBezTo>
                  <a:pt x="118981" y="134027"/>
                  <a:pt x="-1062" y="134027"/>
                  <a:pt x="7" y="57462"/>
                </a:cubicBezTo>
                <a:cubicBezTo>
                  <a:pt x="-1062" y="-19154"/>
                  <a:pt x="118981" y="-19154"/>
                  <a:pt x="117911" y="57462"/>
                </a:cubicBezTo>
                <a:close/>
              </a:path>
            </a:pathLst>
          </a:custGeom>
          <a:solidFill>
            <a:srgbClr val="FFFFFF"/>
          </a:solidFill>
          <a:ln w="30558" cap="flat">
            <a:solidFill>
              <a:srgbClr val="383838"/>
            </a:solidFill>
            <a:prstDash val="solid"/>
            <a:miter/>
          </a:ln>
        </p:spPr>
        <p:txBody>
          <a:bodyPr rtlCol="0" anchor="ctr"/>
          <a:lstStyle/>
          <a:p>
            <a:endParaRPr lang="en-GB"/>
          </a:p>
        </p:txBody>
      </p:sp>
      <p:sp>
        <p:nvSpPr>
          <p:cNvPr id="19" name="Rectangle: Rounded Corners 18">
            <a:extLst>
              <a:ext uri="{FF2B5EF4-FFF2-40B4-BE49-F238E27FC236}">
                <a16:creationId xmlns:a16="http://schemas.microsoft.com/office/drawing/2014/main" id="{3BAFF936-C9F6-8F23-C017-A4F4901D3EBB}"/>
              </a:ext>
            </a:extLst>
          </p:cNvPr>
          <p:cNvSpPr/>
          <p:nvPr/>
        </p:nvSpPr>
        <p:spPr>
          <a:xfrm>
            <a:off x="3405972" y="4174026"/>
            <a:ext cx="885986" cy="914020"/>
          </a:xfrm>
          <a:prstGeom prst="roundRect">
            <a:avLst/>
          </a:prstGeom>
          <a:solidFill>
            <a:srgbClr val="7911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2</a:t>
            </a:r>
          </a:p>
        </p:txBody>
      </p:sp>
      <p:sp>
        <p:nvSpPr>
          <p:cNvPr id="20" name="Rectangle: Rounded Corners 19">
            <a:extLst>
              <a:ext uri="{FF2B5EF4-FFF2-40B4-BE49-F238E27FC236}">
                <a16:creationId xmlns:a16="http://schemas.microsoft.com/office/drawing/2014/main" id="{6D76CD89-A4F5-E0D8-E17A-81E620680882}"/>
              </a:ext>
            </a:extLst>
          </p:cNvPr>
          <p:cNvSpPr/>
          <p:nvPr/>
        </p:nvSpPr>
        <p:spPr>
          <a:xfrm>
            <a:off x="3405972" y="5327642"/>
            <a:ext cx="885986" cy="914020"/>
          </a:xfrm>
          <a:prstGeom prst="roundRect">
            <a:avLst/>
          </a:prstGeom>
          <a:solidFill>
            <a:srgbClr val="7911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3</a:t>
            </a:r>
          </a:p>
        </p:txBody>
      </p:sp>
      <p:sp>
        <p:nvSpPr>
          <p:cNvPr id="3" name="TextBox 2">
            <a:extLst>
              <a:ext uri="{FF2B5EF4-FFF2-40B4-BE49-F238E27FC236}">
                <a16:creationId xmlns:a16="http://schemas.microsoft.com/office/drawing/2014/main" id="{18DAFABF-C438-74AF-97D1-E9A584E86914}"/>
              </a:ext>
            </a:extLst>
          </p:cNvPr>
          <p:cNvSpPr txBox="1"/>
          <p:nvPr/>
        </p:nvSpPr>
        <p:spPr>
          <a:xfrm>
            <a:off x="8855359" y="6596390"/>
            <a:ext cx="2757486" cy="261610"/>
          </a:xfrm>
          <a:prstGeom prst="rect">
            <a:avLst/>
          </a:prstGeom>
          <a:noFill/>
        </p:spPr>
        <p:txBody>
          <a:bodyPr wrap="none" rtlCol="0">
            <a:spAutoFit/>
          </a:bodyPr>
          <a:lstStyle/>
          <a:p>
            <a:r>
              <a:rPr lang="en-GB" sz="1100" dirty="0">
                <a:latin typeface="Arial" panose="020B0604020202020204" pitchFamily="34" charset="0"/>
                <a:cs typeface="Arial" panose="020B0604020202020204" pitchFamily="34" charset="0"/>
              </a:rPr>
              <a:t>*Also known as Peak Demand Reduction</a:t>
            </a:r>
          </a:p>
        </p:txBody>
      </p:sp>
    </p:spTree>
    <p:extLst>
      <p:ext uri="{BB962C8B-B14F-4D97-AF65-F5344CB8AC3E}">
        <p14:creationId xmlns:p14="http://schemas.microsoft.com/office/powerpoint/2010/main" val="1909354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00FA4-08BD-B9C1-CB51-07E770D04B1E}"/>
              </a:ext>
            </a:extLst>
          </p:cNvPr>
          <p:cNvSpPr>
            <a:spLocks noGrp="1"/>
          </p:cNvSpPr>
          <p:nvPr>
            <p:ph type="title"/>
          </p:nvPr>
        </p:nvSpPr>
        <p:spPr/>
        <p:txBody>
          <a:bodyPr>
            <a:normAutofit fontScale="90000"/>
          </a:bodyPr>
          <a:lstStyle/>
          <a:p>
            <a:r>
              <a:rPr lang="en-GB" dirty="0"/>
              <a:t>Alpha Phase Plan </a:t>
            </a:r>
          </a:p>
        </p:txBody>
      </p:sp>
      <p:sp>
        <p:nvSpPr>
          <p:cNvPr id="4" name="Text Placeholder 4">
            <a:extLst>
              <a:ext uri="{FF2B5EF4-FFF2-40B4-BE49-F238E27FC236}">
                <a16:creationId xmlns:a16="http://schemas.microsoft.com/office/drawing/2014/main" id="{D0B57AD8-68CB-7D1C-84D6-59BE37F7179C}"/>
              </a:ext>
            </a:extLst>
          </p:cNvPr>
          <p:cNvSpPr txBox="1">
            <a:spLocks/>
          </p:cNvSpPr>
          <p:nvPr/>
        </p:nvSpPr>
        <p:spPr>
          <a:xfrm>
            <a:off x="498476" y="1780529"/>
            <a:ext cx="5535378" cy="3810297"/>
          </a:xfrm>
          <a:prstGeom prst="rect">
            <a:avLst/>
          </a:prstGeom>
          <a:ln w="28575">
            <a:solidFill>
              <a:srgbClr val="EF8A22"/>
            </a:solidFill>
          </a:ln>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2000" b="1" dirty="0">
                <a:solidFill>
                  <a:srgbClr val="9C1521"/>
                </a:solidFill>
                <a:cs typeface="Arial" panose="020B0604020202020204" pitchFamily="34" charset="0"/>
              </a:rPr>
              <a:t>Context</a:t>
            </a:r>
          </a:p>
          <a:p>
            <a:pPr>
              <a:lnSpc>
                <a:spcPct val="150000"/>
              </a:lnSpc>
            </a:pPr>
            <a:r>
              <a:rPr lang="en-GB" sz="1800" dirty="0"/>
              <a:t>Proposed contractual frameworks developed</a:t>
            </a:r>
          </a:p>
          <a:p>
            <a:pPr>
              <a:lnSpc>
                <a:spcPct val="150000"/>
              </a:lnSpc>
            </a:pPr>
            <a:r>
              <a:rPr lang="en-GB" sz="1800" dirty="0"/>
              <a:t>Partner Ecosystem with needs and motives identified</a:t>
            </a:r>
          </a:p>
          <a:p>
            <a:pPr>
              <a:lnSpc>
                <a:spcPct val="150000"/>
              </a:lnSpc>
            </a:pPr>
            <a:r>
              <a:rPr lang="en-GB" sz="1800" dirty="0"/>
              <a:t>Engagement with Local Authorities and Social Housing Providers has identified perceived benefits and barriers</a:t>
            </a:r>
          </a:p>
          <a:p>
            <a:pPr>
              <a:lnSpc>
                <a:spcPct val="150000"/>
              </a:lnSpc>
            </a:pPr>
            <a:r>
              <a:rPr lang="en-GB" sz="1800" dirty="0"/>
              <a:t>High level Cost Benefit Analysis delivered</a:t>
            </a:r>
          </a:p>
        </p:txBody>
      </p:sp>
      <p:sp>
        <p:nvSpPr>
          <p:cNvPr id="5" name="Text Placeholder 4">
            <a:extLst>
              <a:ext uri="{FF2B5EF4-FFF2-40B4-BE49-F238E27FC236}">
                <a16:creationId xmlns:a16="http://schemas.microsoft.com/office/drawing/2014/main" id="{DC74663F-F951-BEEF-3B84-F0A1644C6536}"/>
              </a:ext>
            </a:extLst>
          </p:cNvPr>
          <p:cNvSpPr txBox="1">
            <a:spLocks/>
          </p:cNvSpPr>
          <p:nvPr/>
        </p:nvSpPr>
        <p:spPr>
          <a:xfrm>
            <a:off x="6346665" y="1780528"/>
            <a:ext cx="5382371" cy="3810297"/>
          </a:xfrm>
          <a:prstGeom prst="rect">
            <a:avLst/>
          </a:prstGeom>
          <a:ln w="28575">
            <a:solidFill>
              <a:schemeClr val="accent2">
                <a:lumMod val="7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2000" b="1" dirty="0">
                <a:solidFill>
                  <a:srgbClr val="9C1521"/>
                </a:solidFill>
                <a:cs typeface="Arial" panose="020B0604020202020204" pitchFamily="34" charset="0"/>
              </a:rPr>
              <a:t>Provisional Plan</a:t>
            </a:r>
          </a:p>
          <a:p>
            <a:pPr>
              <a:lnSpc>
                <a:spcPct val="110000"/>
              </a:lnSpc>
            </a:pPr>
            <a:r>
              <a:rPr lang="en-US" sz="1800" dirty="0"/>
              <a:t>In-depth engagement with identified partner ecosystem with the proposed Flex Direct framework models</a:t>
            </a:r>
          </a:p>
          <a:p>
            <a:pPr>
              <a:lnSpc>
                <a:spcPct val="110000"/>
              </a:lnSpc>
            </a:pPr>
            <a:r>
              <a:rPr lang="en-US" sz="1800" dirty="0"/>
              <a:t>Further development of framework models, quantifying barriers and opportunities. Narrow down to preferred option</a:t>
            </a:r>
          </a:p>
          <a:p>
            <a:pPr>
              <a:lnSpc>
                <a:spcPct val="110000"/>
              </a:lnSpc>
            </a:pPr>
            <a:r>
              <a:rPr lang="en-GB" sz="1800" dirty="0"/>
              <a:t>Continue to collate data and build insight to develop more in-depth Cost Benefit Analysis</a:t>
            </a:r>
          </a:p>
        </p:txBody>
      </p:sp>
    </p:spTree>
    <p:extLst>
      <p:ext uri="{BB962C8B-B14F-4D97-AF65-F5344CB8AC3E}">
        <p14:creationId xmlns:p14="http://schemas.microsoft.com/office/powerpoint/2010/main" val="3102081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303572" y="2248196"/>
            <a:ext cx="6492075" cy="1595384"/>
          </a:xfrm>
        </p:spPr>
        <p:txBody>
          <a:bodyPr>
            <a:normAutofit/>
          </a:bodyPr>
          <a:lstStyle/>
          <a:p>
            <a:pPr>
              <a:lnSpc>
                <a:spcPct val="150000"/>
              </a:lnSpc>
            </a:pPr>
            <a:r>
              <a:rPr lang="en-GB" sz="5400"/>
              <a:t>Questions</a:t>
            </a:r>
          </a:p>
        </p:txBody>
      </p:sp>
    </p:spTree>
    <p:extLst>
      <p:ext uri="{BB962C8B-B14F-4D97-AF65-F5344CB8AC3E}">
        <p14:creationId xmlns:p14="http://schemas.microsoft.com/office/powerpoint/2010/main" val="3549956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135C-5A4F-D2AE-B3C0-228BE065B2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57E047-2582-133B-6B45-C6F76C520C4B}"/>
              </a:ext>
            </a:extLst>
          </p:cNvPr>
          <p:cNvSpPr>
            <a:spLocks noGrp="1"/>
          </p:cNvSpPr>
          <p:nvPr>
            <p:ph type="title"/>
          </p:nvPr>
        </p:nvSpPr>
        <p:spPr/>
        <p:txBody>
          <a:bodyPr>
            <a:normAutofit fontScale="90000"/>
          </a:bodyPr>
          <a:lstStyle/>
          <a:p>
            <a:r>
              <a:rPr lang="en-GB"/>
              <a:t>Context: What is the challenge?</a:t>
            </a:r>
          </a:p>
        </p:txBody>
      </p:sp>
      <p:sp>
        <p:nvSpPr>
          <p:cNvPr id="7" name="Google Shape;19531;p120">
            <a:extLst>
              <a:ext uri="{FF2B5EF4-FFF2-40B4-BE49-F238E27FC236}">
                <a16:creationId xmlns:a16="http://schemas.microsoft.com/office/drawing/2014/main" id="{99DBD627-BA57-4A2D-2B6E-7B39F8532A95}"/>
              </a:ext>
            </a:extLst>
          </p:cNvPr>
          <p:cNvSpPr/>
          <p:nvPr/>
        </p:nvSpPr>
        <p:spPr>
          <a:xfrm>
            <a:off x="569185" y="3850830"/>
            <a:ext cx="60959" cy="60959"/>
          </a:xfrm>
          <a:custGeom>
            <a:avLst/>
            <a:gdLst/>
            <a:ahLst/>
            <a:cxnLst/>
            <a:rect l="l" t="t" r="r" b="b"/>
            <a:pathLst>
              <a:path w="120000" h="120000" extrusionOk="0">
                <a:moveTo>
                  <a:pt x="0" y="0"/>
                </a:moveTo>
                <a:lnTo>
                  <a:pt x="0" y="0"/>
                </a:lnTo>
              </a:path>
            </a:pathLst>
          </a:custGeom>
          <a:noFill/>
          <a:ln w="25400" cap="flat" cmpd="sng">
            <a:solidFill>
              <a:srgbClr val="1A1A1A"/>
            </a:solidFill>
            <a:prstDash val="solid"/>
            <a:round/>
            <a:headEnd type="none" w="sm" len="sm"/>
            <a:tailEnd type="none" w="sm" len="sm"/>
          </a:ln>
        </p:spPr>
        <p:txBody>
          <a:bodyPr spcFirstLastPara="1" wrap="square" lIns="0" tIns="0" rIns="0" bIns="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150" b="0" i="0" u="none" strike="noStrike" kern="0" cap="none" spc="0" normalizeH="0" baseline="0" noProof="0">
              <a:ln>
                <a:noFill/>
              </a:ln>
              <a:solidFill>
                <a:srgbClr val="70AD47"/>
              </a:solidFill>
              <a:effectLst/>
              <a:uLnTx/>
              <a:uFillTx/>
              <a:latin typeface="Arial" panose="020B0604020202020204" pitchFamily="34" charset="0"/>
              <a:ea typeface="Calibri"/>
              <a:cs typeface="Arial" panose="020B0604020202020204" pitchFamily="34" charset="0"/>
              <a:sym typeface="Calibri"/>
            </a:endParaRPr>
          </a:p>
        </p:txBody>
      </p:sp>
      <p:sp>
        <p:nvSpPr>
          <p:cNvPr id="8" name="Google Shape;19532;p120">
            <a:extLst>
              <a:ext uri="{FF2B5EF4-FFF2-40B4-BE49-F238E27FC236}">
                <a16:creationId xmlns:a16="http://schemas.microsoft.com/office/drawing/2014/main" id="{EB20B19C-3529-F22B-8605-00B4A615DB48}"/>
              </a:ext>
            </a:extLst>
          </p:cNvPr>
          <p:cNvSpPr/>
          <p:nvPr/>
        </p:nvSpPr>
        <p:spPr>
          <a:xfrm>
            <a:off x="3129343" y="3237826"/>
            <a:ext cx="61730" cy="60959"/>
          </a:xfrm>
          <a:custGeom>
            <a:avLst/>
            <a:gdLst/>
            <a:ahLst/>
            <a:cxnLst/>
            <a:rect l="l" t="t" r="r" b="b"/>
            <a:pathLst>
              <a:path w="120000" h="120000" extrusionOk="0">
                <a:moveTo>
                  <a:pt x="0" y="0"/>
                </a:moveTo>
                <a:lnTo>
                  <a:pt x="0" y="0"/>
                </a:lnTo>
              </a:path>
            </a:pathLst>
          </a:custGeom>
          <a:noFill/>
          <a:ln w="25400" cap="flat" cmpd="sng">
            <a:solidFill>
              <a:srgbClr val="1A1A1A"/>
            </a:solidFill>
            <a:prstDash val="solid"/>
            <a:round/>
            <a:headEnd type="none" w="sm" len="sm"/>
            <a:tailEnd type="none" w="sm" len="sm"/>
          </a:ln>
        </p:spPr>
        <p:txBody>
          <a:bodyPr spcFirstLastPara="1" wrap="square" lIns="0" tIns="0" rIns="0" bIns="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E7E6E6">
                  <a:lumMod val="25000"/>
                </a:srgbClr>
              </a:solidFill>
              <a:effectLst/>
              <a:uLnTx/>
              <a:uFillTx/>
              <a:latin typeface="Arial" panose="020B0604020202020204" pitchFamily="34" charset="0"/>
              <a:ea typeface="Calibri"/>
              <a:cs typeface="Arial" panose="020B0604020202020204" pitchFamily="34" charset="0"/>
              <a:sym typeface="Calibri"/>
            </a:endParaRPr>
          </a:p>
        </p:txBody>
      </p:sp>
      <p:sp>
        <p:nvSpPr>
          <p:cNvPr id="9" name="Google Shape;19533;p120">
            <a:extLst>
              <a:ext uri="{FF2B5EF4-FFF2-40B4-BE49-F238E27FC236}">
                <a16:creationId xmlns:a16="http://schemas.microsoft.com/office/drawing/2014/main" id="{9197E5F4-99C3-7A40-E2CA-A4CDF2DF8D8E}"/>
              </a:ext>
            </a:extLst>
          </p:cNvPr>
          <p:cNvSpPr/>
          <p:nvPr/>
        </p:nvSpPr>
        <p:spPr>
          <a:xfrm>
            <a:off x="5226331" y="2714372"/>
            <a:ext cx="61730" cy="60959"/>
          </a:xfrm>
          <a:custGeom>
            <a:avLst/>
            <a:gdLst/>
            <a:ahLst/>
            <a:cxnLst/>
            <a:rect l="l" t="t" r="r" b="b"/>
            <a:pathLst>
              <a:path w="120000" h="120000" extrusionOk="0">
                <a:moveTo>
                  <a:pt x="0" y="0"/>
                </a:moveTo>
                <a:lnTo>
                  <a:pt x="0" y="0"/>
                </a:lnTo>
              </a:path>
            </a:pathLst>
          </a:custGeom>
          <a:noFill/>
          <a:ln w="25400" cap="flat" cmpd="sng">
            <a:solidFill>
              <a:srgbClr val="1A1A1A"/>
            </a:solidFill>
            <a:prstDash val="solid"/>
            <a:round/>
            <a:headEnd type="none" w="sm" len="sm"/>
            <a:tailEnd type="none" w="sm" len="sm"/>
          </a:ln>
        </p:spPr>
        <p:txBody>
          <a:bodyPr spcFirstLastPara="1" wrap="square" lIns="0" tIns="0" rIns="0" bIns="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E7E6E6">
                  <a:lumMod val="25000"/>
                </a:srgbClr>
              </a:solidFill>
              <a:effectLst/>
              <a:uLnTx/>
              <a:uFillTx/>
              <a:latin typeface="Arial" panose="020B0604020202020204" pitchFamily="34" charset="0"/>
              <a:ea typeface="Calibri"/>
              <a:cs typeface="Arial" panose="020B0604020202020204" pitchFamily="34" charset="0"/>
              <a:sym typeface="Calibri"/>
            </a:endParaRPr>
          </a:p>
        </p:txBody>
      </p:sp>
      <p:sp>
        <p:nvSpPr>
          <p:cNvPr id="10" name="Google Shape;19536;p120">
            <a:extLst>
              <a:ext uri="{FF2B5EF4-FFF2-40B4-BE49-F238E27FC236}">
                <a16:creationId xmlns:a16="http://schemas.microsoft.com/office/drawing/2014/main" id="{99D17514-6618-F1E7-8BBF-F22873F879BD}"/>
              </a:ext>
            </a:extLst>
          </p:cNvPr>
          <p:cNvSpPr/>
          <p:nvPr/>
        </p:nvSpPr>
        <p:spPr>
          <a:xfrm>
            <a:off x="9186262" y="2000098"/>
            <a:ext cx="61730" cy="60959"/>
          </a:xfrm>
          <a:custGeom>
            <a:avLst/>
            <a:gdLst/>
            <a:ahLst/>
            <a:cxnLst/>
            <a:rect l="l" t="t" r="r" b="b"/>
            <a:pathLst>
              <a:path w="120000" h="120000" extrusionOk="0">
                <a:moveTo>
                  <a:pt x="0" y="0"/>
                </a:moveTo>
                <a:lnTo>
                  <a:pt x="0" y="0"/>
                </a:lnTo>
              </a:path>
            </a:pathLst>
          </a:custGeom>
          <a:noFill/>
          <a:ln w="25400" cap="flat" cmpd="sng">
            <a:solidFill>
              <a:srgbClr val="1A1A1A"/>
            </a:solidFill>
            <a:prstDash val="solid"/>
            <a:round/>
            <a:headEnd type="none" w="sm" len="sm"/>
            <a:tailEnd type="none" w="sm" len="sm"/>
          </a:ln>
        </p:spPr>
        <p:txBody>
          <a:bodyPr spcFirstLastPara="1" wrap="square" lIns="0" tIns="0" rIns="0" bIns="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E7E6E6">
                  <a:lumMod val="25000"/>
                </a:srgbClr>
              </a:solidFill>
              <a:effectLst/>
              <a:uLnTx/>
              <a:uFillTx/>
              <a:latin typeface="Arial" panose="020B0604020202020204" pitchFamily="34" charset="0"/>
              <a:ea typeface="Calibri"/>
              <a:cs typeface="Arial" panose="020B0604020202020204" pitchFamily="34" charset="0"/>
              <a:sym typeface="Calibri"/>
            </a:endParaRPr>
          </a:p>
        </p:txBody>
      </p:sp>
      <p:sp>
        <p:nvSpPr>
          <p:cNvPr id="11" name="Google Shape;19537;p120">
            <a:extLst>
              <a:ext uri="{FF2B5EF4-FFF2-40B4-BE49-F238E27FC236}">
                <a16:creationId xmlns:a16="http://schemas.microsoft.com/office/drawing/2014/main" id="{48711669-40D9-E0B8-63CD-4355A49724F6}"/>
              </a:ext>
            </a:extLst>
          </p:cNvPr>
          <p:cNvSpPr/>
          <p:nvPr/>
        </p:nvSpPr>
        <p:spPr>
          <a:xfrm>
            <a:off x="10388226" y="1735204"/>
            <a:ext cx="61730" cy="60959"/>
          </a:xfrm>
          <a:custGeom>
            <a:avLst/>
            <a:gdLst/>
            <a:ahLst/>
            <a:cxnLst/>
            <a:rect l="l" t="t" r="r" b="b"/>
            <a:pathLst>
              <a:path w="120000" h="120000" extrusionOk="0">
                <a:moveTo>
                  <a:pt x="0" y="0"/>
                </a:moveTo>
                <a:lnTo>
                  <a:pt x="0" y="0"/>
                </a:lnTo>
              </a:path>
            </a:pathLst>
          </a:custGeom>
          <a:noFill/>
          <a:ln w="25400" cap="flat" cmpd="sng">
            <a:solidFill>
              <a:srgbClr val="1A1A1A"/>
            </a:solidFill>
            <a:prstDash val="solid"/>
            <a:round/>
            <a:headEnd type="none" w="sm" len="sm"/>
            <a:tailEnd type="none" w="sm" len="sm"/>
          </a:ln>
        </p:spPr>
        <p:txBody>
          <a:bodyPr spcFirstLastPara="1" wrap="square" lIns="0" tIns="0" rIns="0" bIns="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E7E6E6">
                  <a:lumMod val="25000"/>
                </a:srgbClr>
              </a:solidFill>
              <a:effectLst/>
              <a:uLnTx/>
              <a:uFillTx/>
              <a:latin typeface="Arial" panose="020B0604020202020204" pitchFamily="34" charset="0"/>
              <a:ea typeface="Calibri"/>
              <a:cs typeface="Arial" panose="020B0604020202020204" pitchFamily="34" charset="0"/>
              <a:sym typeface="Calibri"/>
            </a:endParaRPr>
          </a:p>
        </p:txBody>
      </p:sp>
      <p:sp>
        <p:nvSpPr>
          <p:cNvPr id="12" name="Google Shape;19551;p120">
            <a:extLst>
              <a:ext uri="{FF2B5EF4-FFF2-40B4-BE49-F238E27FC236}">
                <a16:creationId xmlns:a16="http://schemas.microsoft.com/office/drawing/2014/main" id="{463B19EB-3095-7E57-AB5B-D290DBD0FB2A}"/>
              </a:ext>
            </a:extLst>
          </p:cNvPr>
          <p:cNvSpPr txBox="1"/>
          <p:nvPr/>
        </p:nvSpPr>
        <p:spPr>
          <a:xfrm flipH="1">
            <a:off x="1491620" y="1321303"/>
            <a:ext cx="1449423" cy="426835"/>
          </a:xfrm>
          <a:prstGeom prst="rect">
            <a:avLst/>
          </a:prstGeom>
          <a:noFill/>
          <a:ln>
            <a:noFill/>
          </a:ln>
        </p:spPr>
        <p:txBody>
          <a:bodyPr spcFirstLastPara="1" wrap="square" lIns="0" tIns="16933" rIns="0" bIns="0" anchor="ctr" anchorCtr="0">
            <a:noAutofit/>
          </a:bodyPr>
          <a:lstStyle/>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sym typeface="Arial"/>
              </a:rPr>
              <a:t>A Need for Energy Flexibility </a:t>
            </a:r>
            <a:endParaRPr kumimoji="0"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sym typeface="Arial"/>
            </a:endParaRPr>
          </a:p>
        </p:txBody>
      </p:sp>
      <p:sp>
        <p:nvSpPr>
          <p:cNvPr id="13" name="Google Shape;19553;p120">
            <a:extLst>
              <a:ext uri="{FF2B5EF4-FFF2-40B4-BE49-F238E27FC236}">
                <a16:creationId xmlns:a16="http://schemas.microsoft.com/office/drawing/2014/main" id="{BEB79004-2F97-78B1-C4E8-0A5F3412CBFF}"/>
              </a:ext>
            </a:extLst>
          </p:cNvPr>
          <p:cNvSpPr txBox="1"/>
          <p:nvPr/>
        </p:nvSpPr>
        <p:spPr>
          <a:xfrm flipH="1">
            <a:off x="1390049" y="2744851"/>
            <a:ext cx="1607463" cy="240519"/>
          </a:xfrm>
          <a:prstGeom prst="rect">
            <a:avLst/>
          </a:prstGeom>
          <a:noFill/>
          <a:ln>
            <a:noFill/>
          </a:ln>
        </p:spPr>
        <p:txBody>
          <a:bodyPr spcFirstLastPara="1" wrap="square" lIns="0" tIns="16933" rIns="0" bIns="0" anchor="ctr" anchorCtr="0">
            <a:noAutofit/>
          </a:bodyPr>
          <a:lstStyle/>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rPr>
              <a:t>Extensive Centralised </a:t>
            </a:r>
          </a:p>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rPr>
              <a:t>Funding for energy efficiency upgrades </a:t>
            </a:r>
            <a:endParaRPr kumimoji="0"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endParaRPr>
          </a:p>
        </p:txBody>
      </p:sp>
      <p:sp>
        <p:nvSpPr>
          <p:cNvPr id="14" name="Google Shape;19554;p120">
            <a:extLst>
              <a:ext uri="{FF2B5EF4-FFF2-40B4-BE49-F238E27FC236}">
                <a16:creationId xmlns:a16="http://schemas.microsoft.com/office/drawing/2014/main" id="{0D4F7738-9B5E-8CFC-B3F5-D77239484FDF}"/>
              </a:ext>
            </a:extLst>
          </p:cNvPr>
          <p:cNvSpPr txBox="1"/>
          <p:nvPr/>
        </p:nvSpPr>
        <p:spPr>
          <a:xfrm flipH="1">
            <a:off x="3125755" y="2312458"/>
            <a:ext cx="8272754" cy="1093981"/>
          </a:xfrm>
          <a:prstGeom prst="rect">
            <a:avLst/>
          </a:prstGeom>
          <a:noFill/>
          <a:ln>
            <a:noFill/>
          </a:ln>
        </p:spPr>
        <p:txBody>
          <a:bodyPr spcFirstLastPara="1" wrap="square" lIns="0" tIns="16933" rIns="0" bIns="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rPr>
              <a:t>There is a </a:t>
            </a:r>
            <a:r>
              <a:rPr kumimoji="0" lang="en-GB" sz="1400" b="1" i="0" u="none" strike="noStrike" kern="0" cap="none" spc="0" normalizeH="0" baseline="0" noProof="0">
                <a:ln>
                  <a:noFill/>
                </a:ln>
                <a:solidFill>
                  <a:srgbClr val="F8931E"/>
                </a:solidFill>
                <a:effectLst/>
                <a:uLnTx/>
                <a:uFillTx/>
                <a:latin typeface="Arial" panose="020B0604020202020204" pitchFamily="34" charset="0"/>
                <a:cs typeface="Arial" panose="020B0604020202020204" pitchFamily="34" charset="0"/>
              </a:rPr>
              <a:t>vast amount of centralised funding</a:t>
            </a:r>
            <a:r>
              <a:rPr kumimoji="0" lang="en-GB"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rPr>
              <a:t> available to Local Authorities and Social Housing Providers to undertake energy efficiency retrofits across their region such as the: Home Upgrade Grant and; Social Housing Decarbonisation fund and ECO4 Flex.  However, there is </a:t>
            </a:r>
            <a:r>
              <a:rPr kumimoji="0" lang="en-GB" sz="1400" b="1" i="0" u="none" strike="noStrike" kern="0" cap="none" spc="0" normalizeH="0" baseline="0" noProof="0">
                <a:ln>
                  <a:noFill/>
                </a:ln>
                <a:solidFill>
                  <a:srgbClr val="F8931E"/>
                </a:solidFill>
                <a:effectLst/>
                <a:uLnTx/>
                <a:uFillTx/>
                <a:latin typeface="Arial" panose="020B0604020202020204" pitchFamily="34" charset="0"/>
                <a:cs typeface="Arial" panose="020B0604020202020204" pitchFamily="34" charset="0"/>
              </a:rPr>
              <a:t>no coordination </a:t>
            </a:r>
            <a:r>
              <a:rPr kumimoji="0" lang="en-GB"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rPr>
              <a:t>between these social landlords (who represent a large portion of vulnerable customers) and the flexibility supply chain, and what value this could provide both for end-consumers and network constraint management. </a:t>
            </a:r>
          </a:p>
        </p:txBody>
      </p:sp>
      <p:sp>
        <p:nvSpPr>
          <p:cNvPr id="15" name="Google Shape;19555;p120">
            <a:extLst>
              <a:ext uri="{FF2B5EF4-FFF2-40B4-BE49-F238E27FC236}">
                <a16:creationId xmlns:a16="http://schemas.microsoft.com/office/drawing/2014/main" id="{603BFBBE-FB7C-C102-F32F-9BE03BAD9D90}"/>
              </a:ext>
            </a:extLst>
          </p:cNvPr>
          <p:cNvSpPr txBox="1"/>
          <p:nvPr/>
        </p:nvSpPr>
        <p:spPr>
          <a:xfrm flipH="1">
            <a:off x="1589401" y="3963411"/>
            <a:ext cx="1253862" cy="615841"/>
          </a:xfrm>
          <a:prstGeom prst="rect">
            <a:avLst/>
          </a:prstGeom>
          <a:noFill/>
          <a:ln>
            <a:noFill/>
          </a:ln>
        </p:spPr>
        <p:txBody>
          <a:bodyPr spcFirstLastPara="1" wrap="square" lIns="0" tIns="16933" rIns="0" bIns="0" anchor="ctr" anchorCtr="0">
            <a:noAutofit/>
          </a:bodyPr>
          <a:lstStyle/>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rPr>
              <a:t>‘Below Par’ uptake of Sustain Flexibility and barriers</a:t>
            </a:r>
            <a:endParaRPr kumimoji="0"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endParaRPr>
          </a:p>
        </p:txBody>
      </p:sp>
      <p:sp>
        <p:nvSpPr>
          <p:cNvPr id="16" name="Google Shape;19556;p120">
            <a:extLst>
              <a:ext uri="{FF2B5EF4-FFF2-40B4-BE49-F238E27FC236}">
                <a16:creationId xmlns:a16="http://schemas.microsoft.com/office/drawing/2014/main" id="{948F0045-A00C-E233-3E7E-549A0DA14B48}"/>
              </a:ext>
            </a:extLst>
          </p:cNvPr>
          <p:cNvSpPr txBox="1"/>
          <p:nvPr/>
        </p:nvSpPr>
        <p:spPr>
          <a:xfrm flipH="1">
            <a:off x="3081044" y="4998661"/>
            <a:ext cx="8272756" cy="768001"/>
          </a:xfrm>
          <a:prstGeom prst="rect">
            <a:avLst/>
          </a:prstGeom>
          <a:noFill/>
          <a:ln>
            <a:noFill/>
          </a:ln>
        </p:spPr>
        <p:txBody>
          <a:bodyPr spcFirstLastPara="1" wrap="square" lIns="0" tIns="16933" rIns="0" bIns="0" anchor="ctr" anchorCtr="0">
            <a:noAutofit/>
          </a:bodyPr>
          <a:lstStyle/>
          <a:p>
            <a:pPr marL="16933" marR="6773" lvl="0" indent="845"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120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Flex Direct aims to develop </a:t>
            </a:r>
            <a:r>
              <a:rPr kumimoji="0" lang="en-GB" sz="1400" b="1" i="0" u="none" strike="noStrike" kern="120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novel commercial models and coordinated market approaches </a:t>
            </a:r>
            <a:r>
              <a:rPr kumimoji="0" lang="en-GB" sz="1400" b="0" i="0" u="none" strike="noStrike" kern="120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to enable to direct participation of Local Authorities and Social Housing Providers into flexibility markets, increase the uptake of the Sustain product and </a:t>
            </a:r>
            <a:r>
              <a:rPr kumimoji="0" lang="en-GB" sz="1400" b="1" i="0" u="none" strike="noStrike" kern="120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facilitate engagement </a:t>
            </a:r>
            <a:r>
              <a:rPr kumimoji="0" lang="en-GB" sz="1400" b="0" i="0" u="none" strike="noStrike" kern="120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of 'hard-to-reach’ customers at scale.</a:t>
            </a:r>
            <a:endParaRPr kumimoji="0" lang="en-GB" sz="1400" b="1"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sym typeface="Arial"/>
            </a:endParaRPr>
          </a:p>
        </p:txBody>
      </p:sp>
      <p:grpSp>
        <p:nvGrpSpPr>
          <p:cNvPr id="17" name="Google Shape;19566;p120">
            <a:extLst>
              <a:ext uri="{FF2B5EF4-FFF2-40B4-BE49-F238E27FC236}">
                <a16:creationId xmlns:a16="http://schemas.microsoft.com/office/drawing/2014/main" id="{00B906C0-6337-1B99-CFB3-29D94738EADE}"/>
              </a:ext>
            </a:extLst>
          </p:cNvPr>
          <p:cNvGrpSpPr/>
          <p:nvPr/>
        </p:nvGrpSpPr>
        <p:grpSpPr>
          <a:xfrm flipH="1">
            <a:off x="559281" y="3772107"/>
            <a:ext cx="792000" cy="792000"/>
            <a:chOff x="5076536" y="2475654"/>
            <a:chExt cx="1248600" cy="1221900"/>
          </a:xfrm>
        </p:grpSpPr>
        <p:sp>
          <p:nvSpPr>
            <p:cNvPr id="18" name="Google Shape;19567;p120">
              <a:extLst>
                <a:ext uri="{FF2B5EF4-FFF2-40B4-BE49-F238E27FC236}">
                  <a16:creationId xmlns:a16="http://schemas.microsoft.com/office/drawing/2014/main" id="{D482554F-BF9E-EAC4-87B0-FC74D9FADCAF}"/>
                </a:ext>
              </a:extLst>
            </p:cNvPr>
            <p:cNvSpPr/>
            <p:nvPr/>
          </p:nvSpPr>
          <p:spPr>
            <a:xfrm>
              <a:off x="5076536" y="2475654"/>
              <a:ext cx="1248600" cy="1221900"/>
            </a:xfrm>
            <a:prstGeom prst="ellipse">
              <a:avLst/>
            </a:pr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150" b="0" i="0" u="none" strike="noStrike" kern="0" cap="none" spc="0" normalizeH="0" baseline="0" noProof="0">
                <a:ln>
                  <a:noFill/>
                </a:ln>
                <a:solidFill>
                  <a:srgbClr val="70AD47"/>
                </a:solidFill>
                <a:effectLst/>
                <a:uLnTx/>
                <a:uFillTx/>
                <a:latin typeface="Arial" panose="020B0604020202020204" pitchFamily="34" charset="0"/>
                <a:cs typeface="Arial" panose="020B0604020202020204" pitchFamily="34" charset="0"/>
                <a:sym typeface="Arial"/>
              </a:endParaRPr>
            </a:p>
          </p:txBody>
        </p:sp>
        <p:pic>
          <p:nvPicPr>
            <p:cNvPr id="19" name="Google Shape;19568;p120" descr="Bar chart outline">
              <a:extLst>
                <a:ext uri="{FF2B5EF4-FFF2-40B4-BE49-F238E27FC236}">
                  <a16:creationId xmlns:a16="http://schemas.microsoft.com/office/drawing/2014/main" id="{236F84D2-8000-7FD7-F719-71BB38BCFF80}"/>
                </a:ext>
              </a:extLst>
            </p:cNvPr>
            <p:cNvPicPr preferRelativeResize="0"/>
            <p:nvPr/>
          </p:nvPicPr>
          <p:blipFill>
            <a:blip r:embed="rId3">
              <a:extLst>
                <a:ext uri="{96DAC541-7B7A-43D3-8B79-37D633B846F1}">
                  <asvg:svgBlip xmlns:asvg="http://schemas.microsoft.com/office/drawing/2016/SVG/main" r:embed="rId4"/>
                </a:ext>
              </a:extLst>
            </a:blip>
            <a:srcRect/>
            <a:stretch/>
          </p:blipFill>
          <p:spPr>
            <a:xfrm flipH="1">
              <a:off x="5348812" y="2758450"/>
              <a:ext cx="727373" cy="656309"/>
            </a:xfrm>
            <a:prstGeom prst="rect">
              <a:avLst/>
            </a:prstGeom>
            <a:noFill/>
            <a:ln>
              <a:noFill/>
            </a:ln>
          </p:spPr>
        </p:pic>
      </p:grpSp>
      <p:sp>
        <p:nvSpPr>
          <p:cNvPr id="20" name="Google Shape;19570;p120">
            <a:extLst>
              <a:ext uri="{FF2B5EF4-FFF2-40B4-BE49-F238E27FC236}">
                <a16:creationId xmlns:a16="http://schemas.microsoft.com/office/drawing/2014/main" id="{0A9966B0-4EBE-3E2B-8BA9-4DA173072DD5}"/>
              </a:ext>
            </a:extLst>
          </p:cNvPr>
          <p:cNvSpPr/>
          <p:nvPr/>
        </p:nvSpPr>
        <p:spPr>
          <a:xfrm flipH="1">
            <a:off x="559281" y="5044218"/>
            <a:ext cx="792000" cy="792000"/>
          </a:xfrm>
          <a:prstGeom prst="ellipse">
            <a:avLst/>
          </a:prstGeom>
          <a:solidFill>
            <a:srgbClr val="FAC52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150" b="0" i="0" u="none" strike="noStrike" kern="0" cap="none" spc="0" normalizeH="0" baseline="0" noProof="0">
              <a:ln>
                <a:noFill/>
              </a:ln>
              <a:solidFill>
                <a:srgbClr val="70AD47"/>
              </a:solidFill>
              <a:effectLst/>
              <a:uLnTx/>
              <a:uFillTx/>
              <a:latin typeface="Arial" panose="020B0604020202020204" pitchFamily="34" charset="0"/>
              <a:cs typeface="Arial" panose="020B0604020202020204" pitchFamily="34" charset="0"/>
              <a:sym typeface="Arial"/>
            </a:endParaRPr>
          </a:p>
        </p:txBody>
      </p:sp>
      <p:grpSp>
        <p:nvGrpSpPr>
          <p:cNvPr id="21" name="Group 20">
            <a:extLst>
              <a:ext uri="{FF2B5EF4-FFF2-40B4-BE49-F238E27FC236}">
                <a16:creationId xmlns:a16="http://schemas.microsoft.com/office/drawing/2014/main" id="{E1BE74D4-5E74-2B9D-09B4-00FE99CF49C3}"/>
              </a:ext>
            </a:extLst>
          </p:cNvPr>
          <p:cNvGrpSpPr/>
          <p:nvPr/>
        </p:nvGrpSpPr>
        <p:grpSpPr>
          <a:xfrm>
            <a:off x="559281" y="2473259"/>
            <a:ext cx="792000" cy="792000"/>
            <a:chOff x="684799" y="2860251"/>
            <a:chExt cx="720000" cy="720000"/>
          </a:xfrm>
        </p:grpSpPr>
        <p:sp>
          <p:nvSpPr>
            <p:cNvPr id="22" name="Google Shape;19564;p120">
              <a:extLst>
                <a:ext uri="{FF2B5EF4-FFF2-40B4-BE49-F238E27FC236}">
                  <a16:creationId xmlns:a16="http://schemas.microsoft.com/office/drawing/2014/main" id="{D0B31AF0-D354-DDD1-2266-E7A5D1661786}"/>
                </a:ext>
              </a:extLst>
            </p:cNvPr>
            <p:cNvSpPr/>
            <p:nvPr/>
          </p:nvSpPr>
          <p:spPr>
            <a:xfrm flipH="1">
              <a:off x="684799" y="2860251"/>
              <a:ext cx="720000" cy="720000"/>
            </a:xfrm>
            <a:prstGeom prst="ellipse">
              <a:avLst/>
            </a:prstGeom>
            <a:solidFill>
              <a:srgbClr val="FAC52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150" b="0" i="0" u="none" strike="noStrike" kern="0" cap="none" spc="0" normalizeH="0" baseline="0" noProof="0">
                <a:ln>
                  <a:noFill/>
                </a:ln>
                <a:solidFill>
                  <a:srgbClr val="70AD47"/>
                </a:solidFill>
                <a:effectLst/>
                <a:uLnTx/>
                <a:uFillTx/>
                <a:latin typeface="Arial" panose="020B0604020202020204" pitchFamily="34" charset="0"/>
                <a:cs typeface="Arial" panose="020B0604020202020204" pitchFamily="34" charset="0"/>
                <a:sym typeface="Arial"/>
              </a:endParaRPr>
            </a:p>
          </p:txBody>
        </p:sp>
        <p:pic>
          <p:nvPicPr>
            <p:cNvPr id="23" name="Graphic 22" descr="Coins outline">
              <a:extLst>
                <a:ext uri="{FF2B5EF4-FFF2-40B4-BE49-F238E27FC236}">
                  <a16:creationId xmlns:a16="http://schemas.microsoft.com/office/drawing/2014/main" id="{8BF374A9-1240-DA25-858A-58105F819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38057" y="3008353"/>
              <a:ext cx="409735" cy="435342"/>
            </a:xfrm>
            <a:prstGeom prst="rect">
              <a:avLst/>
            </a:prstGeom>
          </p:spPr>
        </p:pic>
      </p:grpSp>
      <p:sp>
        <p:nvSpPr>
          <p:cNvPr id="24" name="Google Shape;19555;p120">
            <a:extLst>
              <a:ext uri="{FF2B5EF4-FFF2-40B4-BE49-F238E27FC236}">
                <a16:creationId xmlns:a16="http://schemas.microsoft.com/office/drawing/2014/main" id="{AB3AC706-4FE9-D27F-C5A5-AC2D13CB674F}"/>
              </a:ext>
            </a:extLst>
          </p:cNvPr>
          <p:cNvSpPr txBox="1"/>
          <p:nvPr/>
        </p:nvSpPr>
        <p:spPr>
          <a:xfrm flipH="1">
            <a:off x="1377749" y="5132370"/>
            <a:ext cx="1607463" cy="615841"/>
          </a:xfrm>
          <a:prstGeom prst="rect">
            <a:avLst/>
          </a:prstGeom>
          <a:noFill/>
          <a:ln>
            <a:noFill/>
          </a:ln>
        </p:spPr>
        <p:txBody>
          <a:bodyPr spcFirstLastPara="1" wrap="square" lIns="0" tIns="16933" rIns="0" bIns="0" anchor="ctr" anchorCtr="0">
            <a:noAutofit/>
          </a:bodyPr>
          <a:lstStyle/>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rPr>
              <a:t>Flex Direct </a:t>
            </a:r>
          </a:p>
          <a:p>
            <a:pPr marL="16933"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rPr>
              <a:t>Solution </a:t>
            </a:r>
            <a:endParaRPr kumimoji="0" sz="1400" b="0" i="0" u="none" strike="noStrike" kern="0" cap="none" spc="0" normalizeH="0" baseline="0" noProof="0">
              <a:ln>
                <a:noFill/>
              </a:ln>
              <a:solidFill>
                <a:srgbClr val="E7E6E6">
                  <a:lumMod val="25000"/>
                </a:srgbClr>
              </a:solidFill>
              <a:effectLst/>
              <a:uLnTx/>
              <a:uFillTx/>
              <a:latin typeface="Arial" panose="020B0604020202020204" pitchFamily="34" charset="0"/>
              <a:cs typeface="Arial" panose="020B0604020202020204" pitchFamily="34" charset="0"/>
              <a:sym typeface="Arial"/>
            </a:endParaRPr>
          </a:p>
        </p:txBody>
      </p:sp>
      <p:cxnSp>
        <p:nvCxnSpPr>
          <p:cNvPr id="25" name="Straight Connector 24">
            <a:extLst>
              <a:ext uri="{FF2B5EF4-FFF2-40B4-BE49-F238E27FC236}">
                <a16:creationId xmlns:a16="http://schemas.microsoft.com/office/drawing/2014/main" id="{A6D36B73-5195-7F28-643D-A403C98BAE77}"/>
              </a:ext>
            </a:extLst>
          </p:cNvPr>
          <p:cNvCxnSpPr>
            <a:cxnSpLocks/>
          </p:cNvCxnSpPr>
          <p:nvPr/>
        </p:nvCxnSpPr>
        <p:spPr>
          <a:xfrm>
            <a:off x="1445038" y="3538381"/>
            <a:ext cx="9998013" cy="21321"/>
          </a:xfrm>
          <a:prstGeom prst="line">
            <a:avLst/>
          </a:prstGeom>
          <a:ln>
            <a:solidFill>
              <a:srgbClr val="F8931E"/>
            </a:solidFill>
          </a:ln>
        </p:spPr>
        <p:style>
          <a:lnRef idx="1">
            <a:schemeClr val="accent1"/>
          </a:lnRef>
          <a:fillRef idx="0">
            <a:schemeClr val="accent1"/>
          </a:fillRef>
          <a:effectRef idx="0">
            <a:schemeClr val="accent1"/>
          </a:effectRef>
          <a:fontRef idx="minor">
            <a:schemeClr val="tx1"/>
          </a:fontRef>
        </p:style>
      </p:cxnSp>
      <p:pic>
        <p:nvPicPr>
          <p:cNvPr id="26" name="Graphic 25" descr="Lightbulb outline">
            <a:extLst>
              <a:ext uri="{FF2B5EF4-FFF2-40B4-BE49-F238E27FC236}">
                <a16:creationId xmlns:a16="http://schemas.microsoft.com/office/drawing/2014/main" id="{46BCD66F-5815-712B-6755-4267AD9D14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294" y="5214305"/>
            <a:ext cx="489975" cy="489975"/>
          </a:xfrm>
          <a:prstGeom prst="rect">
            <a:avLst/>
          </a:prstGeom>
          <a:effectLst>
            <a:glow rad="101600">
              <a:srgbClr val="BD281E">
                <a:alpha val="60000"/>
              </a:srgbClr>
            </a:glow>
          </a:effectLst>
        </p:spPr>
      </p:pic>
      <p:cxnSp>
        <p:nvCxnSpPr>
          <p:cNvPr id="27" name="Straight Connector 26">
            <a:extLst>
              <a:ext uri="{FF2B5EF4-FFF2-40B4-BE49-F238E27FC236}">
                <a16:creationId xmlns:a16="http://schemas.microsoft.com/office/drawing/2014/main" id="{549E202E-9FB5-EA67-68C0-433810B2E069}"/>
              </a:ext>
            </a:extLst>
          </p:cNvPr>
          <p:cNvCxnSpPr>
            <a:cxnSpLocks/>
          </p:cNvCxnSpPr>
          <p:nvPr/>
        </p:nvCxnSpPr>
        <p:spPr>
          <a:xfrm>
            <a:off x="1456771" y="2176097"/>
            <a:ext cx="9998013" cy="21321"/>
          </a:xfrm>
          <a:prstGeom prst="line">
            <a:avLst/>
          </a:prstGeom>
          <a:ln>
            <a:solidFill>
              <a:srgbClr val="F8931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4910336-D80B-275F-6758-1B41EF87624A}"/>
              </a:ext>
            </a:extLst>
          </p:cNvPr>
          <p:cNvCxnSpPr>
            <a:cxnSpLocks/>
          </p:cNvCxnSpPr>
          <p:nvPr/>
        </p:nvCxnSpPr>
        <p:spPr>
          <a:xfrm>
            <a:off x="1390049" y="4900665"/>
            <a:ext cx="9998013" cy="21321"/>
          </a:xfrm>
          <a:prstGeom prst="line">
            <a:avLst/>
          </a:prstGeom>
          <a:ln>
            <a:solidFill>
              <a:srgbClr val="F8931E"/>
            </a:solidFill>
          </a:ln>
        </p:spPr>
        <p:style>
          <a:lnRef idx="1">
            <a:schemeClr val="accent1"/>
          </a:lnRef>
          <a:fillRef idx="0">
            <a:schemeClr val="accent1"/>
          </a:fillRef>
          <a:effectRef idx="0">
            <a:schemeClr val="accent1"/>
          </a:effectRef>
          <a:fontRef idx="minor">
            <a:schemeClr val="tx1"/>
          </a:fontRef>
        </p:style>
      </p:cxnSp>
      <p:sp>
        <p:nvSpPr>
          <p:cNvPr id="29" name="Google Shape;19554;p120">
            <a:extLst>
              <a:ext uri="{FF2B5EF4-FFF2-40B4-BE49-F238E27FC236}">
                <a16:creationId xmlns:a16="http://schemas.microsoft.com/office/drawing/2014/main" id="{30742ECD-4034-1399-38D8-69979976AB19}"/>
              </a:ext>
            </a:extLst>
          </p:cNvPr>
          <p:cNvSpPr txBox="1"/>
          <p:nvPr/>
        </p:nvSpPr>
        <p:spPr>
          <a:xfrm flipH="1">
            <a:off x="3125756" y="3679360"/>
            <a:ext cx="8272754" cy="1093981"/>
          </a:xfrm>
          <a:prstGeom prst="rect">
            <a:avLst/>
          </a:prstGeom>
          <a:noFill/>
          <a:ln>
            <a:noFill/>
          </a:ln>
        </p:spPr>
        <p:txBody>
          <a:bodyPr spcFirstLastPara="1" wrap="square" lIns="0" tIns="16933" rIns="0" bIns="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This has meant that the present uptake of Sustain flexibility is </a:t>
            </a:r>
            <a:r>
              <a:rPr kumimoji="0" lang="en-GB" sz="1400" b="1" i="0" u="none" strike="noStrike" kern="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significantly below par</a:t>
            </a:r>
            <a:r>
              <a:rPr kumimoji="0" lang="en-GB"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 In the delivery year of 2023/24 55MW of UKPN’s Sustain flexibility demand needs were not met*. Low awareness and commercial appeal of the energy efficiency flexibility product, technical constraints to accurate baselining, and limited safety mechanisms to protect vulnerable customers present major barriers that must be addressed to align the supply chain and unlock wider system benefits.   </a:t>
            </a:r>
          </a:p>
        </p:txBody>
      </p:sp>
      <p:sp>
        <p:nvSpPr>
          <p:cNvPr id="30" name="Google Shape;19554;p120">
            <a:extLst>
              <a:ext uri="{FF2B5EF4-FFF2-40B4-BE49-F238E27FC236}">
                <a16:creationId xmlns:a16="http://schemas.microsoft.com/office/drawing/2014/main" id="{AF7E4E8C-88C6-E4E2-FD7C-6FDEAE22FE5B}"/>
              </a:ext>
            </a:extLst>
          </p:cNvPr>
          <p:cNvSpPr txBox="1"/>
          <p:nvPr/>
        </p:nvSpPr>
        <p:spPr>
          <a:xfrm flipH="1">
            <a:off x="3125755" y="1017520"/>
            <a:ext cx="8317296" cy="1093981"/>
          </a:xfrm>
          <a:prstGeom prst="rect">
            <a:avLst/>
          </a:prstGeom>
          <a:noFill/>
          <a:ln>
            <a:noFill/>
          </a:ln>
        </p:spPr>
        <p:txBody>
          <a:bodyPr spcFirstLastPara="1" wrap="square" lIns="0" tIns="16933" rIns="0" bIns="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There is a pressing need to </a:t>
            </a:r>
            <a:r>
              <a:rPr kumimoji="0" lang="en-GB" sz="1400" b="1" i="0" u="none" strike="noStrike" kern="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enhance energy flexibility </a:t>
            </a:r>
            <a:r>
              <a:rPr kumimoji="0" lang="en-GB"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usage to meet peak hour energy demands efficiently. Sustain flexibility plays a crucial role in peak demand reduction and helps to defer costly network reinforcement. UK Power Network’s Distribution System Operator(DSO) strategy outlines that their commitment to a </a:t>
            </a:r>
            <a:r>
              <a:rPr lang="en-GB" sz="1400" b="1" kern="0" dirty="0">
                <a:solidFill>
                  <a:srgbClr val="F8931E"/>
                </a:solidFill>
                <a:latin typeface="Arial" panose="020B0604020202020204" pitchFamily="34" charset="0"/>
                <a:cs typeface="Arial" panose="020B0604020202020204" pitchFamily="34" charset="0"/>
              </a:rPr>
              <a:t>“</a:t>
            </a:r>
            <a:r>
              <a:rPr kumimoji="0" lang="en-GB" sz="1400" b="1" i="0" u="none" strike="noStrike" kern="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flexibility first</a:t>
            </a:r>
            <a:r>
              <a:rPr lang="en-GB" sz="1400" b="1" kern="0" dirty="0">
                <a:solidFill>
                  <a:srgbClr val="F8931E"/>
                </a:solidFill>
                <a:latin typeface="Arial" panose="020B0604020202020204" pitchFamily="34" charset="0"/>
                <a:cs typeface="Arial" panose="020B0604020202020204" pitchFamily="34" charset="0"/>
              </a:rPr>
              <a:t>”</a:t>
            </a:r>
            <a:r>
              <a:rPr kumimoji="0" lang="en-GB" sz="1400" b="1" i="0" u="none" strike="noStrike" kern="0" cap="none" spc="0" normalizeH="0" baseline="0" noProof="0" dirty="0">
                <a:ln>
                  <a:noFill/>
                </a:ln>
                <a:solidFill>
                  <a:srgbClr val="F8931E"/>
                </a:solidFill>
                <a:effectLst/>
                <a:uLnTx/>
                <a:uFillTx/>
                <a:latin typeface="Arial" panose="020B0604020202020204" pitchFamily="34" charset="0"/>
                <a:cs typeface="Arial" panose="020B0604020202020204" pitchFamily="34" charset="0"/>
              </a:rPr>
              <a:t> approach </a:t>
            </a:r>
            <a:r>
              <a:rPr kumimoji="0" lang="en-GB" sz="1400" b="0" i="0" u="none" strike="noStrike" kern="0" cap="none"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to network management will help to reduce £410m of capital investment on the primary and secondary network.</a:t>
            </a:r>
          </a:p>
        </p:txBody>
      </p:sp>
      <p:grpSp>
        <p:nvGrpSpPr>
          <p:cNvPr id="31" name="Group 30">
            <a:extLst>
              <a:ext uri="{FF2B5EF4-FFF2-40B4-BE49-F238E27FC236}">
                <a16:creationId xmlns:a16="http://schemas.microsoft.com/office/drawing/2014/main" id="{080D5E93-DCB8-E8A3-1338-E5072279DAC8}"/>
              </a:ext>
            </a:extLst>
          </p:cNvPr>
          <p:cNvGrpSpPr/>
          <p:nvPr/>
        </p:nvGrpSpPr>
        <p:grpSpPr>
          <a:xfrm>
            <a:off x="569185" y="1153647"/>
            <a:ext cx="792000" cy="792000"/>
            <a:chOff x="684799" y="1612124"/>
            <a:chExt cx="720000" cy="720000"/>
          </a:xfrm>
        </p:grpSpPr>
        <p:sp>
          <p:nvSpPr>
            <p:cNvPr id="32" name="Google Shape;19561;p120">
              <a:extLst>
                <a:ext uri="{FF2B5EF4-FFF2-40B4-BE49-F238E27FC236}">
                  <a16:creationId xmlns:a16="http://schemas.microsoft.com/office/drawing/2014/main" id="{CC00C775-D58C-1A2E-A695-66620A7AAA54}"/>
                </a:ext>
              </a:extLst>
            </p:cNvPr>
            <p:cNvSpPr/>
            <p:nvPr/>
          </p:nvSpPr>
          <p:spPr>
            <a:xfrm flipH="1">
              <a:off x="684799" y="1612124"/>
              <a:ext cx="720000" cy="720000"/>
            </a:xfrm>
            <a:prstGeom prst="ellipse">
              <a:avLst/>
            </a:prstGeom>
            <a:solidFill>
              <a:schemeClr val="bg2">
                <a:lumMod val="75000"/>
              </a:scheme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150" b="0" i="0" u="none" strike="noStrike" kern="0" cap="none" spc="0" normalizeH="0" baseline="0" noProof="0">
                <a:ln>
                  <a:noFill/>
                </a:ln>
                <a:solidFill>
                  <a:srgbClr val="70AD47"/>
                </a:solidFill>
                <a:effectLst/>
                <a:uLnTx/>
                <a:uFillTx/>
                <a:latin typeface="Arial" panose="020B0604020202020204" pitchFamily="34" charset="0"/>
                <a:cs typeface="Arial" panose="020B0604020202020204" pitchFamily="34" charset="0"/>
                <a:sym typeface="Arial"/>
              </a:endParaRPr>
            </a:p>
          </p:txBody>
        </p:sp>
        <p:pic>
          <p:nvPicPr>
            <p:cNvPr id="33" name="Graphic 32" descr="Renewable Energy outline">
              <a:extLst>
                <a:ext uri="{FF2B5EF4-FFF2-40B4-BE49-F238E27FC236}">
                  <a16:creationId xmlns:a16="http://schemas.microsoft.com/office/drawing/2014/main" id="{000B898B-D452-51EA-2183-3F5E02A7DF0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4817" y="1670152"/>
              <a:ext cx="576805" cy="576805"/>
            </a:xfrm>
            <a:prstGeom prst="rect">
              <a:avLst/>
            </a:prstGeom>
          </p:spPr>
        </p:pic>
      </p:grpSp>
      <p:sp>
        <p:nvSpPr>
          <p:cNvPr id="36" name="TextBox 35">
            <a:extLst>
              <a:ext uri="{FF2B5EF4-FFF2-40B4-BE49-F238E27FC236}">
                <a16:creationId xmlns:a16="http://schemas.microsoft.com/office/drawing/2014/main" id="{F345CD0B-B16F-BBD0-DC1F-EBC38D0F8522}"/>
              </a:ext>
            </a:extLst>
          </p:cNvPr>
          <p:cNvSpPr txBox="1"/>
          <p:nvPr/>
        </p:nvSpPr>
        <p:spPr>
          <a:xfrm>
            <a:off x="4723232" y="6275378"/>
            <a:ext cx="8074838" cy="2358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933" b="0" i="1" u="none" strike="noStrike" kern="0" cap="none" spc="0" normalizeH="0" baseline="0" noProof="0">
                <a:ln>
                  <a:noFill/>
                </a:ln>
                <a:solidFill>
                  <a:srgbClr val="6A6A6A"/>
                </a:solidFill>
                <a:effectLst/>
                <a:uLnTx/>
                <a:uFillTx/>
                <a:latin typeface="Arial" panose="020B0604020202020204" pitchFamily="34" charset="0"/>
                <a:cs typeface="Arial" panose="020B0604020202020204" pitchFamily="34" charset="0"/>
                <a:sym typeface="Arial"/>
              </a:rPr>
              <a:t>*Source: UKPN DSO: Distribution Flexibility Services Procurement Report 2023 Appendix A </a:t>
            </a:r>
            <a:endParaRPr kumimoji="0" lang="en-GB" sz="933" b="0" i="1" u="none" strike="noStrike" kern="0" cap="none" spc="0" normalizeH="0" baseline="0" noProof="0">
              <a:ln>
                <a:noFill/>
              </a:ln>
              <a:solidFill>
                <a:srgbClr val="6A6A6A"/>
              </a:solidFill>
              <a:effectLst/>
              <a:highlight>
                <a:srgbClr val="A66EAA"/>
              </a:highligh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817516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85BEE7-F7E2-F31E-1C9E-FCBE367A0241}"/>
              </a:ext>
            </a:extLst>
          </p:cNvPr>
          <p:cNvSpPr/>
          <p:nvPr/>
        </p:nvSpPr>
        <p:spPr>
          <a:xfrm>
            <a:off x="10164932" y="5646198"/>
            <a:ext cx="1837678" cy="843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913185-181C-9DA6-AF8E-643E0339C626}"/>
              </a:ext>
            </a:extLst>
          </p:cNvPr>
          <p:cNvSpPr>
            <a:spLocks noGrp="1"/>
          </p:cNvSpPr>
          <p:nvPr>
            <p:ph type="title"/>
          </p:nvPr>
        </p:nvSpPr>
        <p:spPr/>
        <p:txBody>
          <a:bodyPr>
            <a:normAutofit fontScale="90000"/>
          </a:bodyPr>
          <a:lstStyle/>
          <a:p>
            <a:r>
              <a:rPr lang="en-GB"/>
              <a:t>Flex Direct Project Outcomes</a:t>
            </a:r>
          </a:p>
        </p:txBody>
      </p:sp>
      <p:sp>
        <p:nvSpPr>
          <p:cNvPr id="7" name="Text Placeholder 4">
            <a:extLst>
              <a:ext uri="{FF2B5EF4-FFF2-40B4-BE49-F238E27FC236}">
                <a16:creationId xmlns:a16="http://schemas.microsoft.com/office/drawing/2014/main" id="{C698E040-DA9F-B8D2-9D10-8B37DD26306E}"/>
              </a:ext>
            </a:extLst>
          </p:cNvPr>
          <p:cNvSpPr txBox="1">
            <a:spLocks/>
          </p:cNvSpPr>
          <p:nvPr/>
        </p:nvSpPr>
        <p:spPr>
          <a:xfrm>
            <a:off x="465372" y="1623936"/>
            <a:ext cx="5382978" cy="4326692"/>
          </a:xfrm>
          <a:prstGeom prst="rect">
            <a:avLst/>
          </a:prstGeom>
          <a:ln w="28575">
            <a:solidFill>
              <a:srgbClr val="EF8A22"/>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1600" b="1" dirty="0">
                <a:solidFill>
                  <a:srgbClr val="9C1521"/>
                </a:solidFill>
                <a:latin typeface="Arial" panose="020B0604020202020204" pitchFamily="34" charset="0"/>
                <a:cs typeface="Arial" panose="020B0604020202020204" pitchFamily="34" charset="0"/>
              </a:rPr>
              <a:t>Deliverables</a:t>
            </a:r>
          </a:p>
          <a:p>
            <a:pPr>
              <a:lnSpc>
                <a:spcPct val="150000"/>
              </a:lnSpc>
            </a:pPr>
            <a:r>
              <a:rPr lang="en-US" sz="1300" dirty="0">
                <a:latin typeface="Arial" panose="020B0604020202020204" pitchFamily="34" charset="0"/>
                <a:cs typeface="Arial" panose="020B0604020202020204" pitchFamily="34" charset="0"/>
              </a:rPr>
              <a:t>Work Package 1: Establish willingness, capacity and ability for Local Authorities and Social Housing Providers to participate in direct contractual relationships with the DSO through engagement.</a:t>
            </a:r>
          </a:p>
          <a:p>
            <a:pPr>
              <a:lnSpc>
                <a:spcPct val="150000"/>
              </a:lnSpc>
            </a:pPr>
            <a:r>
              <a:rPr lang="en-US" sz="1300" dirty="0">
                <a:latin typeface="Arial" panose="020B0604020202020204" pitchFamily="34" charset="0"/>
                <a:cs typeface="Arial" panose="020B0604020202020204" pitchFamily="34" charset="0"/>
              </a:rPr>
              <a:t>Work Package 2: Proposed contractual framework requirements.</a:t>
            </a:r>
          </a:p>
          <a:p>
            <a:pPr>
              <a:lnSpc>
                <a:spcPct val="150000"/>
              </a:lnSpc>
            </a:pPr>
            <a:r>
              <a:rPr lang="en-US" sz="1300" dirty="0">
                <a:latin typeface="Arial" panose="020B0604020202020204" pitchFamily="34" charset="0"/>
                <a:cs typeface="Arial" panose="020B0604020202020204" pitchFamily="34" charset="0"/>
              </a:rPr>
              <a:t>Work Package 3: Partnership ecosystem identified with proposed collaboration opportunities, and relative costs &amp; benefits identified for key stakeholders.</a:t>
            </a:r>
          </a:p>
          <a:p>
            <a:pPr>
              <a:lnSpc>
                <a:spcPct val="150000"/>
              </a:lnSpc>
            </a:pPr>
            <a:r>
              <a:rPr lang="en-US" sz="1300" dirty="0">
                <a:latin typeface="Arial" panose="020B0604020202020204" pitchFamily="34" charset="0"/>
                <a:cs typeface="Arial" panose="020B0604020202020204" pitchFamily="34" charset="0"/>
              </a:rPr>
              <a:t>Work Package 4: Cost Benefit Analysis of the network at both UK Power Networks and GB level should the Flex Direct approach be scaled.</a:t>
            </a:r>
          </a:p>
        </p:txBody>
      </p:sp>
      <p:sp>
        <p:nvSpPr>
          <p:cNvPr id="8" name="Text Placeholder 4">
            <a:extLst>
              <a:ext uri="{FF2B5EF4-FFF2-40B4-BE49-F238E27FC236}">
                <a16:creationId xmlns:a16="http://schemas.microsoft.com/office/drawing/2014/main" id="{E465E7BA-F576-8D6B-1A3A-7CBFC0634AA8}"/>
              </a:ext>
            </a:extLst>
          </p:cNvPr>
          <p:cNvSpPr txBox="1">
            <a:spLocks/>
          </p:cNvSpPr>
          <p:nvPr/>
        </p:nvSpPr>
        <p:spPr>
          <a:xfrm>
            <a:off x="6219826" y="1623937"/>
            <a:ext cx="5527674" cy="4326691"/>
          </a:xfrm>
          <a:prstGeom prst="rect">
            <a:avLst/>
          </a:prstGeom>
          <a:ln w="28575">
            <a:solidFill>
              <a:schemeClr val="accent2">
                <a:lumMod val="75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1600" b="1" dirty="0">
                <a:solidFill>
                  <a:srgbClr val="9C1521"/>
                </a:solidFill>
                <a:latin typeface="Arial" panose="020B0604020202020204" pitchFamily="34" charset="0"/>
                <a:cs typeface="Arial" panose="020B0604020202020204" pitchFamily="34" charset="0"/>
              </a:rPr>
              <a:t>Benefits</a:t>
            </a:r>
          </a:p>
          <a:p>
            <a:pPr marL="285750" indent="-285750">
              <a:lnSpc>
                <a:spcPct val="150000"/>
              </a:lnSpc>
            </a:pPr>
            <a:r>
              <a:rPr lang="en-US" sz="1300" dirty="0">
                <a:latin typeface="Arial" panose="020B0604020202020204" pitchFamily="34" charset="0"/>
                <a:cs typeface="Arial" panose="020B0604020202020204" pitchFamily="34" charset="0"/>
              </a:rPr>
              <a:t>Future reductions in the cost of operating the network, and therefore cost savings per annum on energy bills for consumers.</a:t>
            </a:r>
          </a:p>
          <a:p>
            <a:pPr marL="285750" indent="-285750">
              <a:lnSpc>
                <a:spcPct val="150000"/>
              </a:lnSpc>
            </a:pPr>
            <a:r>
              <a:rPr lang="en-US" sz="1300" dirty="0">
                <a:latin typeface="Arial" panose="020B0604020202020204" pitchFamily="34" charset="0"/>
                <a:cs typeface="Arial" panose="020B0604020202020204" pitchFamily="34" charset="0"/>
              </a:rPr>
              <a:t>New processes for organisations to engage with the Flexibility market through the DSO.</a:t>
            </a:r>
          </a:p>
          <a:p>
            <a:pPr marL="285750" indent="-285750">
              <a:lnSpc>
                <a:spcPct val="150000"/>
              </a:lnSpc>
            </a:pPr>
            <a:r>
              <a:rPr lang="en-US" sz="1300" dirty="0">
                <a:latin typeface="Arial" panose="020B0604020202020204" pitchFamily="34" charset="0"/>
                <a:cs typeface="Arial" panose="020B0604020202020204" pitchFamily="34" charset="0"/>
              </a:rPr>
              <a:t>Improved access to revenues for Local Authorities and Social Housing providers, therefore contributing to greater social good for vulnerable consumers.</a:t>
            </a:r>
          </a:p>
        </p:txBody>
      </p:sp>
    </p:spTree>
    <p:extLst>
      <p:ext uri="{BB962C8B-B14F-4D97-AF65-F5344CB8AC3E}">
        <p14:creationId xmlns:p14="http://schemas.microsoft.com/office/powerpoint/2010/main" val="787188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Freeform 33">
            <a:extLst>
              <a:ext uri="{FF2B5EF4-FFF2-40B4-BE49-F238E27FC236}">
                <a16:creationId xmlns:a16="http://schemas.microsoft.com/office/drawing/2014/main" id="{5BB894FF-F626-4D25-AE37-21FC874DD5D9}"/>
              </a:ext>
            </a:extLst>
          </p:cNvPr>
          <p:cNvSpPr/>
          <p:nvPr/>
        </p:nvSpPr>
        <p:spPr>
          <a:xfrm flipH="1" flipV="1">
            <a:off x="6698457" y="4263560"/>
            <a:ext cx="1025095" cy="1088812"/>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00" name="Rectangle 199">
            <a:extLst>
              <a:ext uri="{FF2B5EF4-FFF2-40B4-BE49-F238E27FC236}">
                <a16:creationId xmlns:a16="http://schemas.microsoft.com/office/drawing/2014/main" id="{D75EB93E-6DB9-42CC-A5D2-C39F630EFBF0}"/>
              </a:ext>
            </a:extLst>
          </p:cNvPr>
          <p:cNvSpPr/>
          <p:nvPr/>
        </p:nvSpPr>
        <p:spPr>
          <a:xfrm flipH="1">
            <a:off x="669938" y="5381819"/>
            <a:ext cx="6028517" cy="1049760"/>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RetroMeter</a:t>
            </a:r>
            <a:r>
              <a:rPr kumimoji="0" lang="en-GB" sz="1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 (Electricity North West)</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Piloting new ways to accurately evaluate energy savings from energy efficiency measures.</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Will feed into any future energy efficiency market mechanism</a:t>
            </a:r>
          </a:p>
        </p:txBody>
      </p:sp>
      <p:sp>
        <p:nvSpPr>
          <p:cNvPr id="201" name="Rectangle 200">
            <a:extLst>
              <a:ext uri="{FF2B5EF4-FFF2-40B4-BE49-F238E27FC236}">
                <a16:creationId xmlns:a16="http://schemas.microsoft.com/office/drawing/2014/main" id="{A8699C89-5A39-47C1-B8D9-FD7D43ED1FD1}"/>
              </a:ext>
            </a:extLst>
          </p:cNvPr>
          <p:cNvSpPr/>
          <p:nvPr/>
        </p:nvSpPr>
        <p:spPr>
          <a:xfrm flipH="1">
            <a:off x="669934" y="4263562"/>
            <a:ext cx="6028516" cy="108881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60960" rIns="121920" bIns="6096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KnowMyFlex</a:t>
            </a:r>
            <a:r>
              <a:rPr kumimoji="0" lang="en-GB" sz="1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 (UK Power Networks)</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Creating Energy Flexibility Certificates to provide a centralised view of a building’s flexibility potential, improving customer and system operator understanding. Similar to Scottish and Southern E</a:t>
            </a:r>
            <a:r>
              <a:rPr lang="en-GB" sz="1300" kern="0" dirty="0" err="1">
                <a:solidFill>
                  <a:prstClr val="black">
                    <a:lumMod val="75000"/>
                    <a:lumOff val="25000"/>
                  </a:prstClr>
                </a:solidFill>
                <a:latin typeface="Arial" panose="020B0604020202020204" pitchFamily="34" charset="0"/>
                <a:ea typeface="Calibri" panose="020F0502020204030204" pitchFamily="34" charset="0"/>
                <a:cs typeface="Arial" panose="020B0604020202020204" pitchFamily="34" charset="0"/>
                <a:sym typeface="Arial"/>
              </a:rPr>
              <a:t>lectricity</a:t>
            </a:r>
            <a:r>
              <a:rPr lang="en-GB" sz="1300" kern="0" dirty="0">
                <a:solidFill>
                  <a:prstClr val="black">
                    <a:lumMod val="75000"/>
                    <a:lumOff val="25000"/>
                  </a:prstClr>
                </a:solidFill>
                <a:latin typeface="Arial" panose="020B0604020202020204" pitchFamily="34" charset="0"/>
                <a:ea typeface="Calibri" panose="020F0502020204030204" pitchFamily="34" charset="0"/>
                <a:cs typeface="Arial" panose="020B0604020202020204" pitchFamily="34" charset="0"/>
                <a:sym typeface="Arial"/>
              </a:rPr>
              <a:t> </a:t>
            </a: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Networks’ </a:t>
            </a:r>
            <a:r>
              <a:rPr kumimoji="0" lang="en-GB" sz="1300" b="0" i="1"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MaxFlex</a:t>
            </a: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a:t>
            </a:r>
          </a:p>
        </p:txBody>
      </p:sp>
      <p:sp>
        <p:nvSpPr>
          <p:cNvPr id="202" name="Rectangle 201">
            <a:extLst>
              <a:ext uri="{FF2B5EF4-FFF2-40B4-BE49-F238E27FC236}">
                <a16:creationId xmlns:a16="http://schemas.microsoft.com/office/drawing/2014/main" id="{5B71A82D-1954-49DF-9DB0-3BB7C4314075}"/>
              </a:ext>
            </a:extLst>
          </p:cNvPr>
          <p:cNvSpPr/>
          <p:nvPr/>
        </p:nvSpPr>
        <p:spPr>
          <a:xfrm flipH="1">
            <a:off x="669938" y="2081464"/>
            <a:ext cx="6028517" cy="10497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CarbonFlex</a:t>
            </a:r>
            <a:r>
              <a:rPr kumimoji="0" lang="en-GB" sz="1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 (UK Power Networks)</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Dynamically controlling electric heating in low-income households, to provide dynamic flexibility to the grid to manage local grid congestion and respond to grid carbon intensity.</a:t>
            </a:r>
            <a:endPar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endParaRPr>
          </a:p>
        </p:txBody>
      </p:sp>
      <p:sp>
        <p:nvSpPr>
          <p:cNvPr id="203" name="Rectangle 202">
            <a:extLst>
              <a:ext uri="{FF2B5EF4-FFF2-40B4-BE49-F238E27FC236}">
                <a16:creationId xmlns:a16="http://schemas.microsoft.com/office/drawing/2014/main" id="{BAA7081F-2014-4705-BB40-22201F58BC57}"/>
              </a:ext>
            </a:extLst>
          </p:cNvPr>
          <p:cNvSpPr/>
          <p:nvPr/>
        </p:nvSpPr>
        <p:spPr>
          <a:xfrm flipH="1">
            <a:off x="669938" y="3172134"/>
            <a:ext cx="6028517" cy="1049760"/>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Equiflex</a:t>
            </a:r>
            <a:r>
              <a:rPr kumimoji="0" lang="en-GB" sz="16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 (Scottish Power Energy Networks)</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Barriers to access flexibility markets for all customers </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Building on previous work to investigate the opportunities around the electricity Local Area Energy Plans and Local Heat &amp; Energy Efficiency Strategies</a:t>
            </a:r>
          </a:p>
        </p:txBody>
      </p:sp>
      <p:sp>
        <p:nvSpPr>
          <p:cNvPr id="204" name="Freeform 32">
            <a:extLst>
              <a:ext uri="{FF2B5EF4-FFF2-40B4-BE49-F238E27FC236}">
                <a16:creationId xmlns:a16="http://schemas.microsoft.com/office/drawing/2014/main" id="{0F294D7A-F48D-4E90-89DE-6F16872F5502}"/>
              </a:ext>
            </a:extLst>
          </p:cNvPr>
          <p:cNvSpPr/>
          <p:nvPr/>
        </p:nvSpPr>
        <p:spPr>
          <a:xfrm flipH="1" flipV="1">
            <a:off x="6698455" y="4767510"/>
            <a:ext cx="1025095" cy="166406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06" name="Freeform 38">
            <a:extLst>
              <a:ext uri="{FF2B5EF4-FFF2-40B4-BE49-F238E27FC236}">
                <a16:creationId xmlns:a16="http://schemas.microsoft.com/office/drawing/2014/main" id="{B88828EE-9D82-4F45-B037-712AD16F92E6}"/>
              </a:ext>
            </a:extLst>
          </p:cNvPr>
          <p:cNvSpPr/>
          <p:nvPr/>
        </p:nvSpPr>
        <p:spPr>
          <a:xfrm flipH="1">
            <a:off x="6698458" y="2081465"/>
            <a:ext cx="1025095" cy="1663412"/>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07" name="Freeform 39">
            <a:extLst>
              <a:ext uri="{FF2B5EF4-FFF2-40B4-BE49-F238E27FC236}">
                <a16:creationId xmlns:a16="http://schemas.microsoft.com/office/drawing/2014/main" id="{92D013B1-C65B-46B5-B7AC-FEF48BE162A6}"/>
              </a:ext>
            </a:extLst>
          </p:cNvPr>
          <p:cNvSpPr/>
          <p:nvPr/>
        </p:nvSpPr>
        <p:spPr>
          <a:xfrm flipH="1">
            <a:off x="6698457" y="3172134"/>
            <a:ext cx="1025095" cy="1049760"/>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12" name="Rectangle 211">
            <a:extLst>
              <a:ext uri="{FF2B5EF4-FFF2-40B4-BE49-F238E27FC236}">
                <a16:creationId xmlns:a16="http://schemas.microsoft.com/office/drawing/2014/main" id="{0E3DA78E-1DEC-4C27-B4DF-C17C7E892804}"/>
              </a:ext>
            </a:extLst>
          </p:cNvPr>
          <p:cNvSpPr/>
          <p:nvPr/>
        </p:nvSpPr>
        <p:spPr>
          <a:xfrm>
            <a:off x="669937" y="2081464"/>
            <a:ext cx="648000" cy="104976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13" name="Rectangle 212">
            <a:extLst>
              <a:ext uri="{FF2B5EF4-FFF2-40B4-BE49-F238E27FC236}">
                <a16:creationId xmlns:a16="http://schemas.microsoft.com/office/drawing/2014/main" id="{8832CD77-E462-469E-8DA7-FC9481B49109}"/>
              </a:ext>
            </a:extLst>
          </p:cNvPr>
          <p:cNvSpPr/>
          <p:nvPr/>
        </p:nvSpPr>
        <p:spPr>
          <a:xfrm>
            <a:off x="669937" y="3181414"/>
            <a:ext cx="648000" cy="104976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14" name="Rectangle 213">
            <a:extLst>
              <a:ext uri="{FF2B5EF4-FFF2-40B4-BE49-F238E27FC236}">
                <a16:creationId xmlns:a16="http://schemas.microsoft.com/office/drawing/2014/main" id="{3832D483-3A0A-4A5C-895B-9317914B6D48}"/>
              </a:ext>
            </a:extLst>
          </p:cNvPr>
          <p:cNvSpPr/>
          <p:nvPr/>
        </p:nvSpPr>
        <p:spPr>
          <a:xfrm>
            <a:off x="669937" y="4263562"/>
            <a:ext cx="648000" cy="104976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15" name="Rectangle 214">
            <a:extLst>
              <a:ext uri="{FF2B5EF4-FFF2-40B4-BE49-F238E27FC236}">
                <a16:creationId xmlns:a16="http://schemas.microsoft.com/office/drawing/2014/main" id="{5DD9D51F-C10B-4DB0-942C-C5EFB59B6DD7}"/>
              </a:ext>
            </a:extLst>
          </p:cNvPr>
          <p:cNvSpPr/>
          <p:nvPr/>
        </p:nvSpPr>
        <p:spPr>
          <a:xfrm>
            <a:off x="669937" y="5381819"/>
            <a:ext cx="648000" cy="104976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5" name="Title 4">
            <a:extLst>
              <a:ext uri="{FF2B5EF4-FFF2-40B4-BE49-F238E27FC236}">
                <a16:creationId xmlns:a16="http://schemas.microsoft.com/office/drawing/2014/main" id="{501BF1EC-81B8-FDB2-B883-909EAE15557D}"/>
              </a:ext>
            </a:extLst>
          </p:cNvPr>
          <p:cNvSpPr>
            <a:spLocks noGrp="1"/>
          </p:cNvSpPr>
          <p:nvPr>
            <p:ph type="title"/>
          </p:nvPr>
        </p:nvSpPr>
        <p:spPr/>
        <p:txBody>
          <a:bodyPr>
            <a:normAutofit fontScale="90000"/>
          </a:bodyPr>
          <a:lstStyle/>
          <a:p>
            <a:r>
              <a:rPr lang="en-GB">
                <a:ea typeface="Calibri" panose="020F0502020204030204" pitchFamily="34" charset="0"/>
              </a:rPr>
              <a:t>Flex Direct – Mapping Against Other Similar Flexibility SIF Projects</a:t>
            </a:r>
          </a:p>
        </p:txBody>
      </p:sp>
      <p:grpSp>
        <p:nvGrpSpPr>
          <p:cNvPr id="309" name="Hero2" descr="{&quot;Key&quot;:&quot;POWER_USER_SHAPE_ICON&quot;,&quot;Value&quot;:&quot;POWER_USER_SHAPE_ICON_STYLE_1&quot;}">
            <a:extLst>
              <a:ext uri="{FF2B5EF4-FFF2-40B4-BE49-F238E27FC236}">
                <a16:creationId xmlns:a16="http://schemas.microsoft.com/office/drawing/2014/main" id="{1D2CD1B6-07B7-411C-B014-EBA1EFF6A48F}"/>
              </a:ext>
            </a:extLst>
          </p:cNvPr>
          <p:cNvGrpSpPr>
            <a:grpSpLocks noChangeAspect="1"/>
          </p:cNvGrpSpPr>
          <p:nvPr/>
        </p:nvGrpSpPr>
        <p:grpSpPr>
          <a:xfrm>
            <a:off x="7806501" y="3780174"/>
            <a:ext cx="900783" cy="837514"/>
            <a:chOff x="2319338" y="1630363"/>
            <a:chExt cx="638175" cy="631825"/>
          </a:xfrm>
          <a:solidFill>
            <a:schemeClr val="tx2"/>
          </a:solidFill>
        </p:grpSpPr>
        <p:sp>
          <p:nvSpPr>
            <p:cNvPr id="310" name="Freeform 108">
              <a:extLst>
                <a:ext uri="{FF2B5EF4-FFF2-40B4-BE49-F238E27FC236}">
                  <a16:creationId xmlns:a16="http://schemas.microsoft.com/office/drawing/2014/main" id="{E83202AF-CE95-4508-B579-769378D0247D}"/>
                </a:ext>
              </a:extLst>
            </p:cNvPr>
            <p:cNvSpPr>
              <a:spLocks noEditPoints="1"/>
            </p:cNvSpPr>
            <p:nvPr/>
          </p:nvSpPr>
          <p:spPr bwMode="auto">
            <a:xfrm>
              <a:off x="2505075" y="1701801"/>
              <a:ext cx="112713" cy="112713"/>
            </a:xfrm>
            <a:custGeom>
              <a:avLst/>
              <a:gdLst>
                <a:gd name="T0" fmla="*/ 94 w 188"/>
                <a:gd name="T1" fmla="*/ 33 h 189"/>
                <a:gd name="T2" fmla="*/ 155 w 188"/>
                <a:gd name="T3" fmla="*/ 94 h 189"/>
                <a:gd name="T4" fmla="*/ 94 w 188"/>
                <a:gd name="T5" fmla="*/ 155 h 189"/>
                <a:gd name="T6" fmla="*/ 33 w 188"/>
                <a:gd name="T7" fmla="*/ 94 h 189"/>
                <a:gd name="T8" fmla="*/ 94 w 188"/>
                <a:gd name="T9" fmla="*/ 33 h 189"/>
                <a:gd name="T10" fmla="*/ 94 w 188"/>
                <a:gd name="T11" fmla="*/ 189 h 189"/>
                <a:gd name="T12" fmla="*/ 188 w 188"/>
                <a:gd name="T13" fmla="*/ 94 h 189"/>
                <a:gd name="T14" fmla="*/ 94 w 188"/>
                <a:gd name="T15" fmla="*/ 0 h 189"/>
                <a:gd name="T16" fmla="*/ 0 w 188"/>
                <a:gd name="T17" fmla="*/ 94 h 189"/>
                <a:gd name="T18" fmla="*/ 94 w 188"/>
                <a:gd name="T1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9">
                  <a:moveTo>
                    <a:pt x="94" y="33"/>
                  </a:moveTo>
                  <a:cubicBezTo>
                    <a:pt x="128" y="33"/>
                    <a:pt x="155" y="61"/>
                    <a:pt x="155" y="94"/>
                  </a:cubicBezTo>
                  <a:cubicBezTo>
                    <a:pt x="155" y="128"/>
                    <a:pt x="128" y="155"/>
                    <a:pt x="94" y="155"/>
                  </a:cubicBezTo>
                  <a:cubicBezTo>
                    <a:pt x="60" y="155"/>
                    <a:pt x="33" y="128"/>
                    <a:pt x="33" y="94"/>
                  </a:cubicBezTo>
                  <a:cubicBezTo>
                    <a:pt x="33" y="61"/>
                    <a:pt x="60" y="33"/>
                    <a:pt x="94" y="33"/>
                  </a:cubicBezTo>
                  <a:close/>
                  <a:moveTo>
                    <a:pt x="94" y="189"/>
                  </a:moveTo>
                  <a:cubicBezTo>
                    <a:pt x="146" y="189"/>
                    <a:pt x="188" y="146"/>
                    <a:pt x="188" y="94"/>
                  </a:cubicBezTo>
                  <a:cubicBezTo>
                    <a:pt x="188" y="42"/>
                    <a:pt x="146" y="0"/>
                    <a:pt x="94" y="0"/>
                  </a:cubicBezTo>
                  <a:cubicBezTo>
                    <a:pt x="42" y="0"/>
                    <a:pt x="0" y="42"/>
                    <a:pt x="0" y="94"/>
                  </a:cubicBezTo>
                  <a:cubicBezTo>
                    <a:pt x="0" y="146"/>
                    <a:pt x="42" y="189"/>
                    <a:pt x="94" y="1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311" name="Freeform 109">
              <a:extLst>
                <a:ext uri="{FF2B5EF4-FFF2-40B4-BE49-F238E27FC236}">
                  <a16:creationId xmlns:a16="http://schemas.microsoft.com/office/drawing/2014/main" id="{3EBE18FD-029A-497A-937C-41151139F7B0}"/>
                </a:ext>
              </a:extLst>
            </p:cNvPr>
            <p:cNvSpPr>
              <a:spLocks noEditPoints="1"/>
            </p:cNvSpPr>
            <p:nvPr/>
          </p:nvSpPr>
          <p:spPr bwMode="auto">
            <a:xfrm>
              <a:off x="2319338" y="1630363"/>
              <a:ext cx="638175" cy="631825"/>
            </a:xfrm>
            <a:custGeom>
              <a:avLst/>
              <a:gdLst>
                <a:gd name="T0" fmla="*/ 796 w 1069"/>
                <a:gd name="T1" fmla="*/ 85 h 1056"/>
                <a:gd name="T2" fmla="*/ 959 w 1069"/>
                <a:gd name="T3" fmla="*/ 148 h 1056"/>
                <a:gd name="T4" fmla="*/ 959 w 1069"/>
                <a:gd name="T5" fmla="*/ 171 h 1056"/>
                <a:gd name="T6" fmla="*/ 796 w 1069"/>
                <a:gd name="T7" fmla="*/ 234 h 1056"/>
                <a:gd name="T8" fmla="*/ 753 w 1069"/>
                <a:gd name="T9" fmla="*/ 1022 h 1056"/>
                <a:gd name="T10" fmla="*/ 743 w 1069"/>
                <a:gd name="T11" fmla="*/ 43 h 1056"/>
                <a:gd name="T12" fmla="*/ 762 w 1069"/>
                <a:gd name="T13" fmla="*/ 43 h 1056"/>
                <a:gd name="T14" fmla="*/ 547 w 1069"/>
                <a:gd name="T15" fmla="*/ 373 h 1056"/>
                <a:gd name="T16" fmla="*/ 488 w 1069"/>
                <a:gd name="T17" fmla="*/ 1004 h 1056"/>
                <a:gd name="T18" fmla="*/ 422 w 1069"/>
                <a:gd name="T19" fmla="*/ 1009 h 1056"/>
                <a:gd name="T20" fmla="*/ 405 w 1069"/>
                <a:gd name="T21" fmla="*/ 724 h 1056"/>
                <a:gd name="T22" fmla="*/ 388 w 1069"/>
                <a:gd name="T23" fmla="*/ 1011 h 1056"/>
                <a:gd name="T24" fmla="*/ 322 w 1069"/>
                <a:gd name="T25" fmla="*/ 1003 h 1056"/>
                <a:gd name="T26" fmla="*/ 305 w 1069"/>
                <a:gd name="T27" fmla="*/ 460 h 1056"/>
                <a:gd name="T28" fmla="*/ 288 w 1069"/>
                <a:gd name="T29" fmla="*/ 626 h 1056"/>
                <a:gd name="T30" fmla="*/ 204 w 1069"/>
                <a:gd name="T31" fmla="*/ 510 h 1056"/>
                <a:gd name="T32" fmla="*/ 344 w 1069"/>
                <a:gd name="T33" fmla="*/ 347 h 1056"/>
                <a:gd name="T34" fmla="*/ 406 w 1069"/>
                <a:gd name="T35" fmla="*/ 423 h 1056"/>
                <a:gd name="T36" fmla="*/ 455 w 1069"/>
                <a:gd name="T37" fmla="*/ 347 h 1056"/>
                <a:gd name="T38" fmla="*/ 710 w 1069"/>
                <a:gd name="T39" fmla="*/ 373 h 1056"/>
                <a:gd name="T40" fmla="*/ 208 w 1069"/>
                <a:gd name="T41" fmla="*/ 838 h 1056"/>
                <a:gd name="T42" fmla="*/ 226 w 1069"/>
                <a:gd name="T43" fmla="*/ 685 h 1056"/>
                <a:gd name="T44" fmla="*/ 206 w 1069"/>
                <a:gd name="T45" fmla="*/ 443 h 1056"/>
                <a:gd name="T46" fmla="*/ 180 w 1069"/>
                <a:gd name="T47" fmla="*/ 550 h 1056"/>
                <a:gd name="T48" fmla="*/ 288 w 1069"/>
                <a:gd name="T49" fmla="*/ 759 h 1056"/>
                <a:gd name="T50" fmla="*/ 995 w 1069"/>
                <a:gd name="T51" fmla="*/ 160 h 1056"/>
                <a:gd name="T52" fmla="*/ 1065 w 1069"/>
                <a:gd name="T53" fmla="*/ 67 h 1056"/>
                <a:gd name="T54" fmla="*/ 796 w 1069"/>
                <a:gd name="T55" fmla="*/ 52 h 1056"/>
                <a:gd name="T56" fmla="*/ 753 w 1069"/>
                <a:gd name="T57" fmla="*/ 0 h 1056"/>
                <a:gd name="T58" fmla="*/ 710 w 1069"/>
                <a:gd name="T59" fmla="*/ 314 h 1056"/>
                <a:gd name="T60" fmla="*/ 430 w 1069"/>
                <a:gd name="T61" fmla="*/ 323 h 1056"/>
                <a:gd name="T62" fmla="*/ 366 w 1069"/>
                <a:gd name="T63" fmla="*/ 321 h 1056"/>
                <a:gd name="T64" fmla="*/ 295 w 1069"/>
                <a:gd name="T65" fmla="*/ 314 h 1056"/>
                <a:gd name="T66" fmla="*/ 294 w 1069"/>
                <a:gd name="T67" fmla="*/ 314 h 1056"/>
                <a:gd name="T68" fmla="*/ 288 w 1069"/>
                <a:gd name="T69" fmla="*/ 315 h 1056"/>
                <a:gd name="T70" fmla="*/ 283 w 1069"/>
                <a:gd name="T71" fmla="*/ 319 h 1056"/>
                <a:gd name="T72" fmla="*/ 0 w 1069"/>
                <a:gd name="T73" fmla="*/ 563 h 1056"/>
                <a:gd name="T74" fmla="*/ 198 w 1069"/>
                <a:gd name="T75" fmla="*/ 707 h 1056"/>
                <a:gd name="T76" fmla="*/ 176 w 1069"/>
                <a:gd name="T77" fmla="*/ 885 h 1056"/>
                <a:gd name="T78" fmla="*/ 193 w 1069"/>
                <a:gd name="T79" fmla="*/ 887 h 1056"/>
                <a:gd name="T80" fmla="*/ 288 w 1069"/>
                <a:gd name="T81" fmla="*/ 1003 h 1056"/>
                <a:gd name="T82" fmla="*/ 357 w 1069"/>
                <a:gd name="T83" fmla="*/ 1055 h 1056"/>
                <a:gd name="T84" fmla="*/ 459 w 1069"/>
                <a:gd name="T85" fmla="*/ 1055 h 1056"/>
                <a:gd name="T86" fmla="*/ 521 w 1069"/>
                <a:gd name="T87" fmla="*/ 1004 h 1056"/>
                <a:gd name="T88" fmla="*/ 547 w 1069"/>
                <a:gd name="T89" fmla="*/ 406 h 1056"/>
                <a:gd name="T90" fmla="*/ 710 w 1069"/>
                <a:gd name="T91" fmla="*/ 1013 h 1056"/>
                <a:gd name="T92" fmla="*/ 796 w 1069"/>
                <a:gd name="T93" fmla="*/ 1013 h 1056"/>
                <a:gd name="T94" fmla="*/ 1042 w 1069"/>
                <a:gd name="T95" fmla="*/ 268 h 1056"/>
                <a:gd name="T96" fmla="*/ 1060 w 1069"/>
                <a:gd name="T97" fmla="*/ 225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9" h="1056">
                  <a:moveTo>
                    <a:pt x="796" y="234"/>
                  </a:moveTo>
                  <a:lnTo>
                    <a:pt x="796" y="85"/>
                  </a:lnTo>
                  <a:lnTo>
                    <a:pt x="1022" y="85"/>
                  </a:lnTo>
                  <a:lnTo>
                    <a:pt x="959" y="148"/>
                  </a:lnTo>
                  <a:cubicBezTo>
                    <a:pt x="956" y="151"/>
                    <a:pt x="954" y="155"/>
                    <a:pt x="954" y="160"/>
                  </a:cubicBezTo>
                  <a:cubicBezTo>
                    <a:pt x="954" y="164"/>
                    <a:pt x="956" y="168"/>
                    <a:pt x="959" y="171"/>
                  </a:cubicBezTo>
                  <a:lnTo>
                    <a:pt x="1022" y="234"/>
                  </a:lnTo>
                  <a:lnTo>
                    <a:pt x="796" y="234"/>
                  </a:lnTo>
                  <a:close/>
                  <a:moveTo>
                    <a:pt x="762" y="1013"/>
                  </a:moveTo>
                  <a:cubicBezTo>
                    <a:pt x="762" y="1018"/>
                    <a:pt x="758" y="1022"/>
                    <a:pt x="753" y="1022"/>
                  </a:cubicBezTo>
                  <a:cubicBezTo>
                    <a:pt x="748" y="1022"/>
                    <a:pt x="743" y="1018"/>
                    <a:pt x="743" y="1013"/>
                  </a:cubicBezTo>
                  <a:lnTo>
                    <a:pt x="743" y="43"/>
                  </a:lnTo>
                  <a:cubicBezTo>
                    <a:pt x="743" y="37"/>
                    <a:pt x="748" y="33"/>
                    <a:pt x="753" y="33"/>
                  </a:cubicBezTo>
                  <a:cubicBezTo>
                    <a:pt x="758" y="33"/>
                    <a:pt x="762" y="37"/>
                    <a:pt x="762" y="43"/>
                  </a:cubicBezTo>
                  <a:lnTo>
                    <a:pt x="762" y="1013"/>
                  </a:lnTo>
                  <a:close/>
                  <a:moveTo>
                    <a:pt x="547" y="373"/>
                  </a:moveTo>
                  <a:cubicBezTo>
                    <a:pt x="515" y="373"/>
                    <a:pt x="488" y="400"/>
                    <a:pt x="488" y="433"/>
                  </a:cubicBezTo>
                  <a:lnTo>
                    <a:pt x="488" y="1004"/>
                  </a:lnTo>
                  <a:cubicBezTo>
                    <a:pt x="488" y="1009"/>
                    <a:pt x="485" y="1013"/>
                    <a:pt x="482" y="1015"/>
                  </a:cubicBezTo>
                  <a:cubicBezTo>
                    <a:pt x="459" y="1029"/>
                    <a:pt x="433" y="1016"/>
                    <a:pt x="422" y="1009"/>
                  </a:cubicBezTo>
                  <a:lnTo>
                    <a:pt x="422" y="741"/>
                  </a:lnTo>
                  <a:cubicBezTo>
                    <a:pt x="422" y="732"/>
                    <a:pt x="414" y="724"/>
                    <a:pt x="405" y="724"/>
                  </a:cubicBezTo>
                  <a:cubicBezTo>
                    <a:pt x="396" y="724"/>
                    <a:pt x="388" y="732"/>
                    <a:pt x="388" y="741"/>
                  </a:cubicBezTo>
                  <a:lnTo>
                    <a:pt x="388" y="1011"/>
                  </a:lnTo>
                  <a:cubicBezTo>
                    <a:pt x="367" y="1028"/>
                    <a:pt x="345" y="1023"/>
                    <a:pt x="329" y="1015"/>
                  </a:cubicBezTo>
                  <a:cubicBezTo>
                    <a:pt x="324" y="1013"/>
                    <a:pt x="322" y="1008"/>
                    <a:pt x="322" y="1003"/>
                  </a:cubicBezTo>
                  <a:lnTo>
                    <a:pt x="322" y="476"/>
                  </a:lnTo>
                  <a:cubicBezTo>
                    <a:pt x="322" y="467"/>
                    <a:pt x="314" y="460"/>
                    <a:pt x="305" y="460"/>
                  </a:cubicBezTo>
                  <a:cubicBezTo>
                    <a:pt x="296" y="460"/>
                    <a:pt x="288" y="467"/>
                    <a:pt x="288" y="476"/>
                  </a:cubicBezTo>
                  <a:lnTo>
                    <a:pt x="288" y="626"/>
                  </a:lnTo>
                  <a:lnTo>
                    <a:pt x="206" y="529"/>
                  </a:lnTo>
                  <a:cubicBezTo>
                    <a:pt x="201" y="524"/>
                    <a:pt x="201" y="516"/>
                    <a:pt x="204" y="510"/>
                  </a:cubicBezTo>
                  <a:lnTo>
                    <a:pt x="305" y="347"/>
                  </a:lnTo>
                  <a:lnTo>
                    <a:pt x="344" y="347"/>
                  </a:lnTo>
                  <a:lnTo>
                    <a:pt x="391" y="416"/>
                  </a:lnTo>
                  <a:cubicBezTo>
                    <a:pt x="395" y="420"/>
                    <a:pt x="400" y="423"/>
                    <a:pt x="406" y="423"/>
                  </a:cubicBezTo>
                  <a:cubicBezTo>
                    <a:pt x="412" y="422"/>
                    <a:pt x="417" y="419"/>
                    <a:pt x="420" y="414"/>
                  </a:cubicBezTo>
                  <a:lnTo>
                    <a:pt x="455" y="347"/>
                  </a:lnTo>
                  <a:lnTo>
                    <a:pt x="710" y="347"/>
                  </a:lnTo>
                  <a:lnTo>
                    <a:pt x="710" y="373"/>
                  </a:lnTo>
                  <a:lnTo>
                    <a:pt x="547" y="373"/>
                  </a:lnTo>
                  <a:close/>
                  <a:moveTo>
                    <a:pt x="208" y="838"/>
                  </a:moveTo>
                  <a:lnTo>
                    <a:pt x="233" y="702"/>
                  </a:lnTo>
                  <a:cubicBezTo>
                    <a:pt x="234" y="695"/>
                    <a:pt x="231" y="689"/>
                    <a:pt x="226" y="685"/>
                  </a:cubicBezTo>
                  <a:lnTo>
                    <a:pt x="51" y="568"/>
                  </a:lnTo>
                  <a:cubicBezTo>
                    <a:pt x="97" y="542"/>
                    <a:pt x="156" y="491"/>
                    <a:pt x="206" y="443"/>
                  </a:cubicBezTo>
                  <a:lnTo>
                    <a:pt x="176" y="493"/>
                  </a:lnTo>
                  <a:cubicBezTo>
                    <a:pt x="165" y="511"/>
                    <a:pt x="167" y="534"/>
                    <a:pt x="180" y="550"/>
                  </a:cubicBezTo>
                  <a:lnTo>
                    <a:pt x="288" y="678"/>
                  </a:lnTo>
                  <a:lnTo>
                    <a:pt x="288" y="759"/>
                  </a:lnTo>
                  <a:cubicBezTo>
                    <a:pt x="270" y="792"/>
                    <a:pt x="234" y="820"/>
                    <a:pt x="208" y="838"/>
                  </a:cubicBezTo>
                  <a:close/>
                  <a:moveTo>
                    <a:pt x="995" y="160"/>
                  </a:moveTo>
                  <a:lnTo>
                    <a:pt x="1060" y="94"/>
                  </a:lnTo>
                  <a:cubicBezTo>
                    <a:pt x="1067" y="87"/>
                    <a:pt x="1069" y="76"/>
                    <a:pt x="1065" y="67"/>
                  </a:cubicBezTo>
                  <a:cubicBezTo>
                    <a:pt x="1061" y="58"/>
                    <a:pt x="1052" y="52"/>
                    <a:pt x="1042" y="52"/>
                  </a:cubicBezTo>
                  <a:lnTo>
                    <a:pt x="796" y="52"/>
                  </a:lnTo>
                  <a:lnTo>
                    <a:pt x="796" y="43"/>
                  </a:lnTo>
                  <a:cubicBezTo>
                    <a:pt x="796" y="19"/>
                    <a:pt x="776" y="0"/>
                    <a:pt x="753" y="0"/>
                  </a:cubicBezTo>
                  <a:cubicBezTo>
                    <a:pt x="729" y="0"/>
                    <a:pt x="710" y="19"/>
                    <a:pt x="710" y="43"/>
                  </a:cubicBezTo>
                  <a:lnTo>
                    <a:pt x="710" y="314"/>
                  </a:lnTo>
                  <a:lnTo>
                    <a:pt x="445" y="314"/>
                  </a:lnTo>
                  <a:cubicBezTo>
                    <a:pt x="439" y="314"/>
                    <a:pt x="433" y="317"/>
                    <a:pt x="430" y="323"/>
                  </a:cubicBezTo>
                  <a:lnTo>
                    <a:pt x="403" y="374"/>
                  </a:lnTo>
                  <a:lnTo>
                    <a:pt x="366" y="321"/>
                  </a:lnTo>
                  <a:cubicBezTo>
                    <a:pt x="363" y="316"/>
                    <a:pt x="358" y="314"/>
                    <a:pt x="353" y="314"/>
                  </a:cubicBezTo>
                  <a:lnTo>
                    <a:pt x="295" y="314"/>
                  </a:lnTo>
                  <a:cubicBezTo>
                    <a:pt x="295" y="314"/>
                    <a:pt x="295" y="314"/>
                    <a:pt x="295" y="314"/>
                  </a:cubicBezTo>
                  <a:cubicBezTo>
                    <a:pt x="295" y="314"/>
                    <a:pt x="294" y="314"/>
                    <a:pt x="294" y="314"/>
                  </a:cubicBezTo>
                  <a:cubicBezTo>
                    <a:pt x="292" y="314"/>
                    <a:pt x="291" y="314"/>
                    <a:pt x="289" y="315"/>
                  </a:cubicBezTo>
                  <a:cubicBezTo>
                    <a:pt x="289" y="315"/>
                    <a:pt x="288" y="315"/>
                    <a:pt x="288" y="315"/>
                  </a:cubicBezTo>
                  <a:cubicBezTo>
                    <a:pt x="286" y="316"/>
                    <a:pt x="285" y="317"/>
                    <a:pt x="283" y="319"/>
                  </a:cubicBezTo>
                  <a:cubicBezTo>
                    <a:pt x="283" y="319"/>
                    <a:pt x="283" y="319"/>
                    <a:pt x="283" y="319"/>
                  </a:cubicBezTo>
                  <a:cubicBezTo>
                    <a:pt x="230" y="376"/>
                    <a:pt x="78" y="528"/>
                    <a:pt x="12" y="550"/>
                  </a:cubicBezTo>
                  <a:cubicBezTo>
                    <a:pt x="6" y="552"/>
                    <a:pt x="1" y="557"/>
                    <a:pt x="0" y="563"/>
                  </a:cubicBezTo>
                  <a:cubicBezTo>
                    <a:pt x="0" y="570"/>
                    <a:pt x="2" y="576"/>
                    <a:pt x="8" y="579"/>
                  </a:cubicBezTo>
                  <a:lnTo>
                    <a:pt x="198" y="707"/>
                  </a:lnTo>
                  <a:lnTo>
                    <a:pt x="169" y="869"/>
                  </a:lnTo>
                  <a:cubicBezTo>
                    <a:pt x="168" y="875"/>
                    <a:pt x="170" y="882"/>
                    <a:pt x="176" y="885"/>
                  </a:cubicBezTo>
                  <a:cubicBezTo>
                    <a:pt x="178" y="888"/>
                    <a:pt x="182" y="889"/>
                    <a:pt x="185" y="889"/>
                  </a:cubicBezTo>
                  <a:cubicBezTo>
                    <a:pt x="188" y="889"/>
                    <a:pt x="191" y="888"/>
                    <a:pt x="193" y="887"/>
                  </a:cubicBezTo>
                  <a:cubicBezTo>
                    <a:pt x="196" y="885"/>
                    <a:pt x="249" y="857"/>
                    <a:pt x="288" y="814"/>
                  </a:cubicBezTo>
                  <a:lnTo>
                    <a:pt x="288" y="1003"/>
                  </a:lnTo>
                  <a:cubicBezTo>
                    <a:pt x="288" y="1021"/>
                    <a:pt x="298" y="1037"/>
                    <a:pt x="314" y="1045"/>
                  </a:cubicBezTo>
                  <a:cubicBezTo>
                    <a:pt x="328" y="1052"/>
                    <a:pt x="343" y="1055"/>
                    <a:pt x="357" y="1055"/>
                  </a:cubicBezTo>
                  <a:cubicBezTo>
                    <a:pt x="375" y="1055"/>
                    <a:pt x="391" y="1050"/>
                    <a:pt x="406" y="1039"/>
                  </a:cubicBezTo>
                  <a:cubicBezTo>
                    <a:pt x="418" y="1046"/>
                    <a:pt x="437" y="1055"/>
                    <a:pt x="459" y="1055"/>
                  </a:cubicBezTo>
                  <a:cubicBezTo>
                    <a:pt x="472" y="1055"/>
                    <a:pt x="485" y="1052"/>
                    <a:pt x="498" y="1044"/>
                  </a:cubicBezTo>
                  <a:cubicBezTo>
                    <a:pt x="512" y="1036"/>
                    <a:pt x="521" y="1020"/>
                    <a:pt x="521" y="1004"/>
                  </a:cubicBezTo>
                  <a:lnTo>
                    <a:pt x="521" y="433"/>
                  </a:lnTo>
                  <a:cubicBezTo>
                    <a:pt x="521" y="418"/>
                    <a:pt x="533" y="406"/>
                    <a:pt x="547" y="406"/>
                  </a:cubicBezTo>
                  <a:lnTo>
                    <a:pt x="710" y="406"/>
                  </a:lnTo>
                  <a:lnTo>
                    <a:pt x="710" y="1013"/>
                  </a:lnTo>
                  <a:cubicBezTo>
                    <a:pt x="710" y="1036"/>
                    <a:pt x="729" y="1056"/>
                    <a:pt x="753" y="1056"/>
                  </a:cubicBezTo>
                  <a:cubicBezTo>
                    <a:pt x="776" y="1056"/>
                    <a:pt x="796" y="1036"/>
                    <a:pt x="796" y="1013"/>
                  </a:cubicBezTo>
                  <a:lnTo>
                    <a:pt x="796" y="268"/>
                  </a:lnTo>
                  <a:lnTo>
                    <a:pt x="1042" y="268"/>
                  </a:lnTo>
                  <a:cubicBezTo>
                    <a:pt x="1052" y="268"/>
                    <a:pt x="1061" y="262"/>
                    <a:pt x="1065" y="252"/>
                  </a:cubicBezTo>
                  <a:cubicBezTo>
                    <a:pt x="1069" y="243"/>
                    <a:pt x="1067" y="232"/>
                    <a:pt x="1060" y="225"/>
                  </a:cubicBezTo>
                  <a:lnTo>
                    <a:pt x="995" y="16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grpSp>
      <p:sp>
        <p:nvSpPr>
          <p:cNvPr id="8" name="TextBox 7">
            <a:extLst>
              <a:ext uri="{FF2B5EF4-FFF2-40B4-BE49-F238E27FC236}">
                <a16:creationId xmlns:a16="http://schemas.microsoft.com/office/drawing/2014/main" id="{83C4F330-EEAC-CF88-1C2E-9F04893729FD}"/>
              </a:ext>
            </a:extLst>
          </p:cNvPr>
          <p:cNvSpPr txBox="1"/>
          <p:nvPr/>
        </p:nvSpPr>
        <p:spPr>
          <a:xfrm>
            <a:off x="8707284" y="2020418"/>
            <a:ext cx="3027516" cy="3570208"/>
          </a:xfrm>
          <a:prstGeom prst="rect">
            <a:avLst/>
          </a:prstGeom>
          <a:noFill/>
        </p:spPr>
        <p:txBody>
          <a:bodyPr wrap="square" lIns="121920" tIns="60960" rIns="121920" bIns="60960" anchor="t">
            <a:spAutoFit/>
          </a:bodyPr>
          <a:lstStyle/>
          <a:p>
            <a:pPr marL="0" marR="0" lvl="0" indent="0" algn="ctr" defTabSz="1219170" rtl="0" eaLnBrk="1" fontAlgn="auto" latinLnBrk="0" hangingPunct="1">
              <a:lnSpc>
                <a:spcPct val="100000"/>
              </a:lnSpc>
              <a:spcBef>
                <a:spcPts val="0"/>
              </a:spcBef>
              <a:spcAft>
                <a:spcPts val="0"/>
              </a:spcAft>
              <a:buClr>
                <a:prstClr val="black">
                  <a:lumMod val="50000"/>
                  <a:lumOff val="50000"/>
                </a:prstClr>
              </a:buClr>
              <a:buSzTx/>
              <a:buFontTx/>
              <a:buNone/>
              <a:tabLst/>
              <a:defRPr/>
            </a:pPr>
            <a:r>
              <a:rPr kumimoji="0" lang="en-GB" sz="1867" b="1" i="0" u="sng"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Flex Direct</a:t>
            </a:r>
          </a:p>
          <a:p>
            <a:pPr marL="171450" marR="0" lvl="0" indent="-171450" algn="l" defTabSz="1219170" rtl="0" eaLnBrk="1" fontAlgn="auto" latinLnBrk="0" hangingPunct="1">
              <a:lnSpc>
                <a:spcPct val="100000"/>
              </a:lnSpc>
              <a:spcBef>
                <a:spcPts val="0"/>
              </a:spcBef>
              <a:spcAft>
                <a:spcPts val="0"/>
              </a:spcAft>
              <a:buClr>
                <a:prstClr val="black">
                  <a:lumMod val="50000"/>
                  <a:lumOff val="50000"/>
                </a:prstClr>
              </a:buClr>
              <a:buSzTx/>
              <a:buFont typeface="Arial" panose="020B0604020202020204" pitchFamily="34" charset="0"/>
              <a:buChar char="•"/>
              <a:tabLst/>
              <a:defRPr/>
            </a:pPr>
            <a:endParaRPr kumimoji="0" lang="en-GB" sz="933" b="1"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endParaRPr>
          </a:p>
          <a:p>
            <a:pPr marL="144000" marR="0" lvl="0" indent="-144000" algn="l" defTabSz="1219170" rtl="0" eaLnBrk="1" fontAlgn="auto" latinLnBrk="0" hangingPunct="1">
              <a:lnSpc>
                <a:spcPct val="100000"/>
              </a:lnSpc>
              <a:spcBef>
                <a:spcPts val="0"/>
              </a:spcBef>
              <a:spcAft>
                <a:spcPts val="0"/>
              </a:spcAft>
              <a:buClr>
                <a:prstClr val="black">
                  <a:lumMod val="50000"/>
                  <a:lumOff val="50000"/>
                </a:prstClr>
              </a:buClr>
              <a:buSzPct val="100000"/>
              <a:buFont typeface="Arial" panose="020B0604020202020204" pitchFamily="34" charset="0"/>
              <a:buChar char="•"/>
              <a:tabLst/>
              <a:defRPr/>
            </a:pP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Focus on 'Sustain' flexibility rather than Dynamic or Secure</a:t>
            </a:r>
          </a:p>
          <a:p>
            <a:pPr marL="144000" marR="0" lvl="0" indent="-144000" algn="l" defTabSz="1219170" rtl="0" eaLnBrk="1" fontAlgn="auto" latinLnBrk="0" hangingPunct="1">
              <a:lnSpc>
                <a:spcPct val="100000"/>
              </a:lnSpc>
              <a:spcBef>
                <a:spcPts val="0"/>
              </a:spcBef>
              <a:spcAft>
                <a:spcPts val="0"/>
              </a:spcAft>
              <a:buClr>
                <a:prstClr val="black">
                  <a:lumMod val="50000"/>
                  <a:lumOff val="50000"/>
                </a:prstClr>
              </a:buClr>
              <a:buSzPct val="100000"/>
              <a:buFont typeface="Arial" panose="020B0604020202020204" pitchFamily="34" charset="0"/>
              <a:buChar char="•"/>
              <a:tabLst/>
              <a:defRPr/>
            </a:pP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Novel commercial models for direct contract from L</a:t>
            </a:r>
            <a:r>
              <a:rPr lang="en-GB" sz="1400" kern="0" dirty="0" err="1">
                <a:solidFill>
                  <a:srgbClr val="79111B"/>
                </a:solidFill>
                <a:latin typeface="Arial" panose="020B0604020202020204" pitchFamily="34" charset="0"/>
                <a:ea typeface="Calibri" panose="020F0502020204030204" pitchFamily="34" charset="0"/>
                <a:cs typeface="Arial" panose="020B0604020202020204" pitchFamily="34" charset="0"/>
                <a:sym typeface="Arial"/>
              </a:rPr>
              <a:t>ocal</a:t>
            </a:r>
            <a:r>
              <a:rPr lang="en-GB" sz="1400" kern="0" dirty="0">
                <a:solidFill>
                  <a:srgbClr val="79111B"/>
                </a:solidFill>
                <a:latin typeface="Arial" panose="020B0604020202020204" pitchFamily="34" charset="0"/>
                <a:ea typeface="Calibri" panose="020F0502020204030204" pitchFamily="34" charset="0"/>
                <a:cs typeface="Arial" panose="020B0604020202020204" pitchFamily="34" charset="0"/>
                <a:sym typeface="Arial"/>
              </a:rPr>
              <a:t> </a:t>
            </a: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Authorities to the Distribution System Operator</a:t>
            </a:r>
          </a:p>
          <a:p>
            <a:pPr marL="144000" marR="0" lvl="0" indent="-144000" algn="l" defTabSz="1219170" rtl="0" eaLnBrk="1" fontAlgn="auto" latinLnBrk="0" hangingPunct="1">
              <a:lnSpc>
                <a:spcPct val="100000"/>
              </a:lnSpc>
              <a:spcBef>
                <a:spcPts val="0"/>
              </a:spcBef>
              <a:spcAft>
                <a:spcPts val="0"/>
              </a:spcAft>
              <a:buClr>
                <a:prstClr val="black">
                  <a:lumMod val="50000"/>
                  <a:lumOff val="50000"/>
                </a:prstClr>
              </a:buClr>
              <a:buSzPct val="100000"/>
              <a:buFont typeface="Arial" panose="020B0604020202020204" pitchFamily="34" charset="0"/>
              <a:buChar char="•"/>
              <a:tabLst/>
              <a:defRPr/>
            </a:pP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Addressing barriers found in Socially Green trial</a:t>
            </a:r>
          </a:p>
          <a:p>
            <a:pPr marL="144000" marR="0" lvl="0" indent="-144000" algn="l" defTabSz="1219170" rtl="0" eaLnBrk="1" fontAlgn="auto" latinLnBrk="0" hangingPunct="1">
              <a:lnSpc>
                <a:spcPct val="100000"/>
              </a:lnSpc>
              <a:spcBef>
                <a:spcPts val="0"/>
              </a:spcBef>
              <a:spcAft>
                <a:spcPts val="0"/>
              </a:spcAft>
              <a:buClr>
                <a:prstClr val="black">
                  <a:lumMod val="50000"/>
                  <a:lumOff val="50000"/>
                </a:prstClr>
              </a:buClr>
              <a:buSzPct val="100000"/>
              <a:buFont typeface="Arial" panose="020B0604020202020204" pitchFamily="34" charset="0"/>
              <a:buChar char="•"/>
              <a:tabLst/>
              <a:defRPr/>
            </a:pP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Broader than only vulnerable customers</a:t>
            </a:r>
          </a:p>
          <a:p>
            <a:pPr marL="144000" marR="0" lvl="0" indent="-144000" algn="l" defTabSz="1219170" rtl="0" eaLnBrk="1" fontAlgn="auto" latinLnBrk="0" hangingPunct="1">
              <a:lnSpc>
                <a:spcPct val="100000"/>
              </a:lnSpc>
              <a:spcBef>
                <a:spcPts val="0"/>
              </a:spcBef>
              <a:spcAft>
                <a:spcPts val="0"/>
              </a:spcAft>
              <a:buClr>
                <a:prstClr val="black">
                  <a:lumMod val="50000"/>
                  <a:lumOff val="50000"/>
                </a:prstClr>
              </a:buClr>
              <a:buSzPct val="100000"/>
              <a:buFont typeface="Arial" panose="020B0604020202020204" pitchFamily="34" charset="0"/>
              <a:buChar char="•"/>
              <a:tabLst/>
              <a:defRPr/>
            </a:pPr>
            <a:r>
              <a:rPr kumimoji="0" lang="en-GB" sz="1400" i="0" u="none" strike="noStrike" kern="0" cap="none" spc="0" normalizeH="0" baseline="0" noProof="0" dirty="0">
                <a:ln>
                  <a:noFill/>
                </a:ln>
                <a:solidFill>
                  <a:srgbClr val="79111B"/>
                </a:solidFill>
                <a:effectLst/>
                <a:uLnTx/>
                <a:uFillTx/>
                <a:latin typeface="Arial" panose="020B0604020202020204" pitchFamily="34" charset="0"/>
                <a:ea typeface="Calibri" panose="020F0502020204030204" pitchFamily="34" charset="0"/>
                <a:cs typeface="Arial" panose="020B0604020202020204" pitchFamily="34" charset="0"/>
                <a:sym typeface="Arial"/>
              </a:rPr>
              <a:t>Key enabler for “fabric-first approach” and integration of energy efficiency into flexibility markets</a:t>
            </a:r>
          </a:p>
        </p:txBody>
      </p:sp>
      <p:grpSp>
        <p:nvGrpSpPr>
          <p:cNvPr id="28" name="Contract" descr="{&quot;Key&quot;:&quot;POWER_USER_SHAPE_ICON&quot;,&quot;Value&quot;:&quot;POWER_USER_SHAPE_ICON_STYLE_1&quot;}">
            <a:extLst>
              <a:ext uri="{FF2B5EF4-FFF2-40B4-BE49-F238E27FC236}">
                <a16:creationId xmlns:a16="http://schemas.microsoft.com/office/drawing/2014/main" id="{B782190F-0C4D-6FD2-B8EB-B0D22F8FDDF2}"/>
              </a:ext>
            </a:extLst>
          </p:cNvPr>
          <p:cNvGrpSpPr>
            <a:grpSpLocks noChangeAspect="1"/>
          </p:cNvGrpSpPr>
          <p:nvPr/>
        </p:nvGrpSpPr>
        <p:grpSpPr>
          <a:xfrm>
            <a:off x="800605" y="4565673"/>
            <a:ext cx="515530" cy="442921"/>
            <a:chOff x="6470649" y="5883275"/>
            <a:chExt cx="563564" cy="484189"/>
          </a:xfrm>
          <a:noFill/>
        </p:grpSpPr>
        <p:sp>
          <p:nvSpPr>
            <p:cNvPr id="29" name="Line 1734">
              <a:extLst>
                <a:ext uri="{FF2B5EF4-FFF2-40B4-BE49-F238E27FC236}">
                  <a16:creationId xmlns:a16="http://schemas.microsoft.com/office/drawing/2014/main" id="{E2B96599-5208-EFE7-3046-F1E156EAE767}"/>
                </a:ext>
              </a:extLst>
            </p:cNvPr>
            <p:cNvSpPr>
              <a:spLocks noChangeShapeType="1"/>
            </p:cNvSpPr>
            <p:nvPr/>
          </p:nvSpPr>
          <p:spPr bwMode="auto">
            <a:xfrm>
              <a:off x="6557963" y="5883275"/>
              <a:ext cx="206375"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0" name="Line 1735">
              <a:extLst>
                <a:ext uri="{FF2B5EF4-FFF2-40B4-BE49-F238E27FC236}">
                  <a16:creationId xmlns:a16="http://schemas.microsoft.com/office/drawing/2014/main" id="{180A1E34-BD41-2AD9-B0EF-64A86E811D0D}"/>
                </a:ext>
              </a:extLst>
            </p:cNvPr>
            <p:cNvSpPr>
              <a:spLocks noChangeShapeType="1"/>
            </p:cNvSpPr>
            <p:nvPr/>
          </p:nvSpPr>
          <p:spPr bwMode="auto">
            <a:xfrm>
              <a:off x="6557963" y="5978525"/>
              <a:ext cx="206375"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1" name="Line 1736">
              <a:extLst>
                <a:ext uri="{FF2B5EF4-FFF2-40B4-BE49-F238E27FC236}">
                  <a16:creationId xmlns:a16="http://schemas.microsoft.com/office/drawing/2014/main" id="{C2AA9D9E-0871-B554-74CB-0978DB424C62}"/>
                </a:ext>
              </a:extLst>
            </p:cNvPr>
            <p:cNvSpPr>
              <a:spLocks noChangeShapeType="1"/>
            </p:cNvSpPr>
            <p:nvPr/>
          </p:nvSpPr>
          <p:spPr bwMode="auto">
            <a:xfrm>
              <a:off x="6557963" y="6075363"/>
              <a:ext cx="206375"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2" name="Line 1737">
              <a:extLst>
                <a:ext uri="{FF2B5EF4-FFF2-40B4-BE49-F238E27FC236}">
                  <a16:creationId xmlns:a16="http://schemas.microsoft.com/office/drawing/2014/main" id="{C89E22D5-26E3-0022-06C0-4003054F61F4}"/>
                </a:ext>
              </a:extLst>
            </p:cNvPr>
            <p:cNvSpPr>
              <a:spLocks noChangeShapeType="1"/>
            </p:cNvSpPr>
            <p:nvPr/>
          </p:nvSpPr>
          <p:spPr bwMode="auto">
            <a:xfrm>
              <a:off x="6557964" y="6173788"/>
              <a:ext cx="119062"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3" name="Line 1738">
              <a:extLst>
                <a:ext uri="{FF2B5EF4-FFF2-40B4-BE49-F238E27FC236}">
                  <a16:creationId xmlns:a16="http://schemas.microsoft.com/office/drawing/2014/main" id="{121C8771-8C16-3CB8-40DA-6DE97DC869D1}"/>
                </a:ext>
              </a:extLst>
            </p:cNvPr>
            <p:cNvSpPr>
              <a:spLocks noChangeShapeType="1"/>
            </p:cNvSpPr>
            <p:nvPr/>
          </p:nvSpPr>
          <p:spPr bwMode="auto">
            <a:xfrm>
              <a:off x="6557963" y="6270625"/>
              <a:ext cx="90487"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4" name="Line 1739">
              <a:extLst>
                <a:ext uri="{FF2B5EF4-FFF2-40B4-BE49-F238E27FC236}">
                  <a16:creationId xmlns:a16="http://schemas.microsoft.com/office/drawing/2014/main" id="{8C2DE3ED-3AC7-2001-F265-549174E1F8F0}"/>
                </a:ext>
              </a:extLst>
            </p:cNvPr>
            <p:cNvSpPr>
              <a:spLocks noChangeShapeType="1"/>
            </p:cNvSpPr>
            <p:nvPr/>
          </p:nvSpPr>
          <p:spPr bwMode="auto">
            <a:xfrm flipH="1">
              <a:off x="6557963" y="6367463"/>
              <a:ext cx="206375"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5" name="Freeform 1745">
              <a:extLst>
                <a:ext uri="{FF2B5EF4-FFF2-40B4-BE49-F238E27FC236}">
                  <a16:creationId xmlns:a16="http://schemas.microsoft.com/office/drawing/2014/main" id="{3F78B93E-2425-C3C0-C02D-50EA58B20B51}"/>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6" name="Line 1746">
              <a:extLst>
                <a:ext uri="{FF2B5EF4-FFF2-40B4-BE49-F238E27FC236}">
                  <a16:creationId xmlns:a16="http://schemas.microsoft.com/office/drawing/2014/main" id="{9DBAAD0D-90DF-A3A9-721F-5FDF427A0E61}"/>
                </a:ext>
              </a:extLst>
            </p:cNvPr>
            <p:cNvSpPr>
              <a:spLocks noChangeShapeType="1"/>
            </p:cNvSpPr>
            <p:nvPr/>
          </p:nvSpPr>
          <p:spPr bwMode="auto">
            <a:xfrm>
              <a:off x="6938963" y="5959475"/>
              <a:ext cx="53975" cy="55563"/>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7" name="Freeform 1747">
              <a:extLst>
                <a:ext uri="{FF2B5EF4-FFF2-40B4-BE49-F238E27FC236}">
                  <a16:creationId xmlns:a16="http://schemas.microsoft.com/office/drawing/2014/main" id="{309E9973-CFA0-7F90-6358-CF5B47C3E24F}"/>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8575">
              <a:solidFill>
                <a:schemeClr val="tx2"/>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8" name="Freeform 1748">
              <a:extLst>
                <a:ext uri="{FF2B5EF4-FFF2-40B4-BE49-F238E27FC236}">
                  <a16:creationId xmlns:a16="http://schemas.microsoft.com/office/drawing/2014/main" id="{DDC6065A-316A-D1DC-8F1B-9835CE2A841B}"/>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9" name="Line 1735">
              <a:extLst>
                <a:ext uri="{FF2B5EF4-FFF2-40B4-BE49-F238E27FC236}">
                  <a16:creationId xmlns:a16="http://schemas.microsoft.com/office/drawing/2014/main" id="{DD600011-29DA-022F-44A6-A70CAEAF82F3}"/>
                </a:ext>
              </a:extLst>
            </p:cNvPr>
            <p:cNvSpPr>
              <a:spLocks noChangeShapeType="1"/>
            </p:cNvSpPr>
            <p:nvPr/>
          </p:nvSpPr>
          <p:spPr bwMode="auto">
            <a:xfrm rot="5400000">
              <a:off x="6800849" y="5938839"/>
              <a:ext cx="107951"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0" name="Line 1735">
              <a:extLst>
                <a:ext uri="{FF2B5EF4-FFF2-40B4-BE49-F238E27FC236}">
                  <a16:creationId xmlns:a16="http://schemas.microsoft.com/office/drawing/2014/main" id="{9EB8FBE8-6122-2ABB-BF83-1608FA6F2CC1}"/>
                </a:ext>
              </a:extLst>
            </p:cNvPr>
            <p:cNvSpPr>
              <a:spLocks noChangeShapeType="1"/>
            </p:cNvSpPr>
            <p:nvPr/>
          </p:nvSpPr>
          <p:spPr bwMode="auto">
            <a:xfrm rot="5400000">
              <a:off x="6772275" y="6284913"/>
              <a:ext cx="165100"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1" name="Line 1735">
              <a:extLst>
                <a:ext uri="{FF2B5EF4-FFF2-40B4-BE49-F238E27FC236}">
                  <a16:creationId xmlns:a16="http://schemas.microsoft.com/office/drawing/2014/main" id="{9A8F836C-1B8E-F725-3EA3-E1CAD4142BE4}"/>
                </a:ext>
              </a:extLst>
            </p:cNvPr>
            <p:cNvSpPr>
              <a:spLocks noChangeShapeType="1"/>
            </p:cNvSpPr>
            <p:nvPr/>
          </p:nvSpPr>
          <p:spPr bwMode="auto">
            <a:xfrm rot="10800000">
              <a:off x="6472487" y="6367464"/>
              <a:ext cx="374400"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2" name="Line 1735">
              <a:extLst>
                <a:ext uri="{FF2B5EF4-FFF2-40B4-BE49-F238E27FC236}">
                  <a16:creationId xmlns:a16="http://schemas.microsoft.com/office/drawing/2014/main" id="{C9E02F0E-1722-B9C6-ACF9-C457E4DEDAA5}"/>
                </a:ext>
              </a:extLst>
            </p:cNvPr>
            <p:cNvSpPr>
              <a:spLocks noChangeShapeType="1"/>
            </p:cNvSpPr>
            <p:nvPr/>
          </p:nvSpPr>
          <p:spPr bwMode="auto">
            <a:xfrm rot="10800000">
              <a:off x="6472487" y="5883275"/>
              <a:ext cx="374400"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3" name="Line 1735">
              <a:extLst>
                <a:ext uri="{FF2B5EF4-FFF2-40B4-BE49-F238E27FC236}">
                  <a16:creationId xmlns:a16="http://schemas.microsoft.com/office/drawing/2014/main" id="{A0BF4923-FC0B-88E4-BEA0-ECA408C241D1}"/>
                </a:ext>
              </a:extLst>
            </p:cNvPr>
            <p:cNvSpPr>
              <a:spLocks noChangeShapeType="1"/>
            </p:cNvSpPr>
            <p:nvPr/>
          </p:nvSpPr>
          <p:spPr bwMode="auto">
            <a:xfrm rot="16200000">
              <a:off x="6229449" y="6125470"/>
              <a:ext cx="482400" cy="0"/>
            </a:xfrm>
            <a:prstGeom prst="line">
              <a:avLst/>
            </a:prstGeom>
            <a:grpFill/>
            <a:ln w="285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grpSp>
      <p:grpSp>
        <p:nvGrpSpPr>
          <p:cNvPr id="45" name="Steps">
            <a:extLst>
              <a:ext uri="{FF2B5EF4-FFF2-40B4-BE49-F238E27FC236}">
                <a16:creationId xmlns:a16="http://schemas.microsoft.com/office/drawing/2014/main" id="{399A338F-D523-8B08-EACB-5C503B956039}"/>
              </a:ext>
            </a:extLst>
          </p:cNvPr>
          <p:cNvGrpSpPr>
            <a:grpSpLocks noChangeAspect="1"/>
          </p:cNvGrpSpPr>
          <p:nvPr>
            <p:custDataLst>
              <p:tags r:id="rId2"/>
            </p:custDataLst>
          </p:nvPr>
        </p:nvGrpSpPr>
        <p:grpSpPr bwMode="auto">
          <a:xfrm>
            <a:off x="867083" y="2180439"/>
            <a:ext cx="217693" cy="488824"/>
            <a:chOff x="2585" y="1309"/>
            <a:chExt cx="1100" cy="2470"/>
          </a:xfrm>
          <a:noFill/>
        </p:grpSpPr>
        <p:sp>
          <p:nvSpPr>
            <p:cNvPr id="47" name="Freeform 52">
              <a:extLst>
                <a:ext uri="{FF2B5EF4-FFF2-40B4-BE49-F238E27FC236}">
                  <a16:creationId xmlns:a16="http://schemas.microsoft.com/office/drawing/2014/main" id="{6291B94B-02C9-0C3E-6F6C-B5770CEA42EC}"/>
                </a:ext>
              </a:extLst>
            </p:cNvPr>
            <p:cNvSpPr>
              <a:spLocks/>
            </p:cNvSpPr>
            <p:nvPr/>
          </p:nvSpPr>
          <p:spPr bwMode="auto">
            <a:xfrm>
              <a:off x="2883" y="2987"/>
              <a:ext cx="802" cy="792"/>
            </a:xfrm>
            <a:custGeom>
              <a:avLst/>
              <a:gdLst>
                <a:gd name="T0" fmla="*/ 136 w 202"/>
                <a:gd name="T1" fmla="*/ 0 h 199"/>
                <a:gd name="T2" fmla="*/ 0 w 202"/>
                <a:gd name="T3" fmla="*/ 39 h 199"/>
                <a:gd name="T4" fmla="*/ 125 w 202"/>
                <a:gd name="T5" fmla="*/ 179 h 199"/>
                <a:gd name="T6" fmla="*/ 136 w 202"/>
                <a:gd name="T7" fmla="*/ 1 h 199"/>
                <a:gd name="T8" fmla="*/ 136 w 202"/>
                <a:gd name="T9" fmla="*/ 0 h 199"/>
              </a:gdLst>
              <a:ahLst/>
              <a:cxnLst>
                <a:cxn ang="0">
                  <a:pos x="T0" y="T1"/>
                </a:cxn>
                <a:cxn ang="0">
                  <a:pos x="T2" y="T3"/>
                </a:cxn>
                <a:cxn ang="0">
                  <a:pos x="T4" y="T5"/>
                </a:cxn>
                <a:cxn ang="0">
                  <a:pos x="T6" y="T7"/>
                </a:cxn>
                <a:cxn ang="0">
                  <a:pos x="T8" y="T9"/>
                </a:cxn>
              </a:cxnLst>
              <a:rect l="0" t="0" r="r" b="b"/>
              <a:pathLst>
                <a:path w="202" h="199">
                  <a:moveTo>
                    <a:pt x="136" y="0"/>
                  </a:moveTo>
                  <a:lnTo>
                    <a:pt x="0" y="39"/>
                  </a:lnTo>
                  <a:cubicBezTo>
                    <a:pt x="7" y="128"/>
                    <a:pt x="51" y="199"/>
                    <a:pt x="125" y="179"/>
                  </a:cubicBezTo>
                  <a:cubicBezTo>
                    <a:pt x="202" y="158"/>
                    <a:pt x="166" y="53"/>
                    <a:pt x="136" y="1"/>
                  </a:cubicBezTo>
                  <a:cubicBezTo>
                    <a:pt x="136" y="1"/>
                    <a:pt x="136" y="1"/>
                    <a:pt x="136" y="0"/>
                  </a:cubicBezTo>
                  <a:close/>
                </a:path>
              </a:pathLst>
            </a:custGeom>
            <a:grpFill/>
            <a:ln w="19050">
              <a:solidFill>
                <a:schemeClr val="tx2"/>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8" name="Freeform 54">
              <a:extLst>
                <a:ext uri="{FF2B5EF4-FFF2-40B4-BE49-F238E27FC236}">
                  <a16:creationId xmlns:a16="http://schemas.microsoft.com/office/drawing/2014/main" id="{5D416D69-CF79-8A82-D9A8-E6E8B6BA7701}"/>
                </a:ext>
              </a:extLst>
            </p:cNvPr>
            <p:cNvSpPr>
              <a:spLocks/>
            </p:cNvSpPr>
            <p:nvPr/>
          </p:nvSpPr>
          <p:spPr bwMode="auto">
            <a:xfrm>
              <a:off x="2585" y="1309"/>
              <a:ext cx="933" cy="1634"/>
            </a:xfrm>
            <a:custGeom>
              <a:avLst/>
              <a:gdLst>
                <a:gd name="T0" fmla="*/ 208 w 235"/>
                <a:gd name="T1" fmla="*/ 283 h 411"/>
                <a:gd name="T2" fmla="*/ 210 w 235"/>
                <a:gd name="T3" fmla="*/ 125 h 411"/>
                <a:gd name="T4" fmla="*/ 99 w 235"/>
                <a:gd name="T5" fmla="*/ 5 h 411"/>
                <a:gd name="T6" fmla="*/ 7 w 235"/>
                <a:gd name="T7" fmla="*/ 136 h 411"/>
                <a:gd name="T8" fmla="*/ 70 w 235"/>
                <a:gd name="T9" fmla="*/ 411 h 411"/>
                <a:gd name="T10" fmla="*/ 195 w 235"/>
                <a:gd name="T11" fmla="*/ 375 h 411"/>
                <a:gd name="T12" fmla="*/ 208 w 235"/>
                <a:gd name="T13" fmla="*/ 283 h 411"/>
              </a:gdLst>
              <a:ahLst/>
              <a:cxnLst>
                <a:cxn ang="0">
                  <a:pos x="T0" y="T1"/>
                </a:cxn>
                <a:cxn ang="0">
                  <a:pos x="T2" y="T3"/>
                </a:cxn>
                <a:cxn ang="0">
                  <a:pos x="T4" y="T5"/>
                </a:cxn>
                <a:cxn ang="0">
                  <a:pos x="T6" y="T7"/>
                </a:cxn>
                <a:cxn ang="0">
                  <a:pos x="T8" y="T9"/>
                </a:cxn>
                <a:cxn ang="0">
                  <a:pos x="T10" y="T11"/>
                </a:cxn>
                <a:cxn ang="0">
                  <a:pos x="T12" y="T13"/>
                </a:cxn>
              </a:cxnLst>
              <a:rect l="0" t="0" r="r" b="b"/>
              <a:pathLst>
                <a:path w="235" h="411">
                  <a:moveTo>
                    <a:pt x="208" y="283"/>
                  </a:moveTo>
                  <a:cubicBezTo>
                    <a:pt x="217" y="256"/>
                    <a:pt x="235" y="211"/>
                    <a:pt x="210" y="125"/>
                  </a:cubicBezTo>
                  <a:cubicBezTo>
                    <a:pt x="185" y="38"/>
                    <a:pt x="149" y="5"/>
                    <a:pt x="99" y="5"/>
                  </a:cubicBezTo>
                  <a:cubicBezTo>
                    <a:pt x="99" y="5"/>
                    <a:pt x="13" y="0"/>
                    <a:pt x="7" y="136"/>
                  </a:cubicBezTo>
                  <a:cubicBezTo>
                    <a:pt x="0" y="287"/>
                    <a:pt x="53" y="324"/>
                    <a:pt x="70" y="411"/>
                  </a:cubicBezTo>
                  <a:lnTo>
                    <a:pt x="195" y="375"/>
                  </a:lnTo>
                  <a:cubicBezTo>
                    <a:pt x="191" y="337"/>
                    <a:pt x="201" y="302"/>
                    <a:pt x="208" y="283"/>
                  </a:cubicBezTo>
                </a:path>
              </a:pathLst>
            </a:custGeom>
            <a:grpFill/>
            <a:ln w="19050">
              <a:solidFill>
                <a:schemeClr val="tx2"/>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grpSp>
      <p:sp>
        <p:nvSpPr>
          <p:cNvPr id="46" name="Freeform 8">
            <a:extLst>
              <a:ext uri="{FF2B5EF4-FFF2-40B4-BE49-F238E27FC236}">
                <a16:creationId xmlns:a16="http://schemas.microsoft.com/office/drawing/2014/main" id="{630B6870-C98F-BBE7-B299-B7672755A59A}"/>
              </a:ext>
            </a:extLst>
          </p:cNvPr>
          <p:cNvSpPr>
            <a:spLocks noChangeAspect="1" noEditPoints="1"/>
          </p:cNvSpPr>
          <p:nvPr/>
        </p:nvSpPr>
        <p:spPr bwMode="auto">
          <a:xfrm>
            <a:off x="743905" y="2723060"/>
            <a:ext cx="518089" cy="207827"/>
          </a:xfrm>
          <a:custGeom>
            <a:avLst/>
            <a:gdLst>
              <a:gd name="T0" fmla="*/ 618 w 1405"/>
              <a:gd name="T1" fmla="*/ 123 h 564"/>
              <a:gd name="T2" fmla="*/ 568 w 1405"/>
              <a:gd name="T3" fmla="*/ 280 h 564"/>
              <a:gd name="T4" fmla="*/ 616 w 1405"/>
              <a:gd name="T5" fmla="*/ 443 h 564"/>
              <a:gd name="T6" fmla="*/ 778 w 1405"/>
              <a:gd name="T7" fmla="*/ 457 h 564"/>
              <a:gd name="T8" fmla="*/ 851 w 1405"/>
              <a:gd name="T9" fmla="*/ 319 h 564"/>
              <a:gd name="T10" fmla="*/ 824 w 1405"/>
              <a:gd name="T11" fmla="*/ 142 h 564"/>
              <a:gd name="T12" fmla="*/ 712 w 1405"/>
              <a:gd name="T13" fmla="*/ 90 h 564"/>
              <a:gd name="T14" fmla="*/ 353 w 1405"/>
              <a:gd name="T15" fmla="*/ 21 h 564"/>
              <a:gd name="T16" fmla="*/ 397 w 1405"/>
              <a:gd name="T17" fmla="*/ 52 h 564"/>
              <a:gd name="T18" fmla="*/ 403 w 1405"/>
              <a:gd name="T19" fmla="*/ 106 h 564"/>
              <a:gd name="T20" fmla="*/ 380 w 1405"/>
              <a:gd name="T21" fmla="*/ 138 h 564"/>
              <a:gd name="T22" fmla="*/ 309 w 1405"/>
              <a:gd name="T23" fmla="*/ 100 h 564"/>
              <a:gd name="T24" fmla="*/ 177 w 1405"/>
              <a:gd name="T25" fmla="*/ 123 h 564"/>
              <a:gd name="T26" fmla="*/ 121 w 1405"/>
              <a:gd name="T27" fmla="*/ 282 h 564"/>
              <a:gd name="T28" fmla="*/ 179 w 1405"/>
              <a:gd name="T29" fmla="*/ 443 h 564"/>
              <a:gd name="T30" fmla="*/ 313 w 1405"/>
              <a:gd name="T31" fmla="*/ 463 h 564"/>
              <a:gd name="T32" fmla="*/ 384 w 1405"/>
              <a:gd name="T33" fmla="*/ 426 h 564"/>
              <a:gd name="T34" fmla="*/ 403 w 1405"/>
              <a:gd name="T35" fmla="*/ 440 h 564"/>
              <a:gd name="T36" fmla="*/ 401 w 1405"/>
              <a:gd name="T37" fmla="*/ 503 h 564"/>
              <a:gd name="T38" fmla="*/ 359 w 1405"/>
              <a:gd name="T39" fmla="*/ 539 h 564"/>
              <a:gd name="T40" fmla="*/ 244 w 1405"/>
              <a:gd name="T41" fmla="*/ 564 h 564"/>
              <a:gd name="T42" fmla="*/ 121 w 1405"/>
              <a:gd name="T43" fmla="*/ 535 h 564"/>
              <a:gd name="T44" fmla="*/ 38 w 1405"/>
              <a:gd name="T45" fmla="*/ 455 h 564"/>
              <a:gd name="T46" fmla="*/ 2 w 1405"/>
              <a:gd name="T47" fmla="*/ 322 h 564"/>
              <a:gd name="T48" fmla="*/ 19 w 1405"/>
              <a:gd name="T49" fmla="*/ 165 h 564"/>
              <a:gd name="T50" fmla="*/ 88 w 1405"/>
              <a:gd name="T51" fmla="*/ 58 h 564"/>
              <a:gd name="T52" fmla="*/ 200 w 1405"/>
              <a:gd name="T53" fmla="*/ 4 h 564"/>
              <a:gd name="T54" fmla="*/ 1254 w 1405"/>
              <a:gd name="T55" fmla="*/ 2 h 564"/>
              <a:gd name="T56" fmla="*/ 1373 w 1405"/>
              <a:gd name="T57" fmla="*/ 84 h 564"/>
              <a:gd name="T58" fmla="*/ 1371 w 1405"/>
              <a:gd name="T59" fmla="*/ 221 h 564"/>
              <a:gd name="T60" fmla="*/ 1279 w 1405"/>
              <a:gd name="T61" fmla="*/ 355 h 564"/>
              <a:gd name="T62" fmla="*/ 1394 w 1405"/>
              <a:gd name="T63" fmla="*/ 466 h 564"/>
              <a:gd name="T64" fmla="*/ 1402 w 1405"/>
              <a:gd name="T65" fmla="*/ 545 h 564"/>
              <a:gd name="T66" fmla="*/ 1048 w 1405"/>
              <a:gd name="T67" fmla="*/ 547 h 564"/>
              <a:gd name="T68" fmla="*/ 1041 w 1405"/>
              <a:gd name="T69" fmla="*/ 495 h 564"/>
              <a:gd name="T70" fmla="*/ 1162 w 1405"/>
              <a:gd name="T71" fmla="*/ 334 h 564"/>
              <a:gd name="T72" fmla="*/ 1242 w 1405"/>
              <a:gd name="T73" fmla="*/ 217 h 564"/>
              <a:gd name="T74" fmla="*/ 1242 w 1405"/>
              <a:gd name="T75" fmla="*/ 129 h 564"/>
              <a:gd name="T76" fmla="*/ 1181 w 1405"/>
              <a:gd name="T77" fmla="*/ 100 h 564"/>
              <a:gd name="T78" fmla="*/ 1091 w 1405"/>
              <a:gd name="T79" fmla="*/ 127 h 564"/>
              <a:gd name="T80" fmla="*/ 1054 w 1405"/>
              <a:gd name="T81" fmla="*/ 129 h 564"/>
              <a:gd name="T82" fmla="*/ 1050 w 1405"/>
              <a:gd name="T83" fmla="*/ 73 h 564"/>
              <a:gd name="T84" fmla="*/ 1083 w 1405"/>
              <a:gd name="T85" fmla="*/ 33 h 564"/>
              <a:gd name="T86" fmla="*/ 1189 w 1405"/>
              <a:gd name="T87" fmla="*/ 0 h 564"/>
              <a:gd name="T88" fmla="*/ 774 w 1405"/>
              <a:gd name="T89" fmla="*/ 4 h 564"/>
              <a:gd name="T90" fmla="*/ 887 w 1405"/>
              <a:gd name="T91" fmla="*/ 50 h 564"/>
              <a:gd name="T92" fmla="*/ 952 w 1405"/>
              <a:gd name="T93" fmla="*/ 152 h 564"/>
              <a:gd name="T94" fmla="*/ 968 w 1405"/>
              <a:gd name="T95" fmla="*/ 309 h 564"/>
              <a:gd name="T96" fmla="*/ 931 w 1405"/>
              <a:gd name="T97" fmla="*/ 447 h 564"/>
              <a:gd name="T98" fmla="*/ 843 w 1405"/>
              <a:gd name="T99" fmla="*/ 534 h 564"/>
              <a:gd name="T100" fmla="*/ 707 w 1405"/>
              <a:gd name="T101" fmla="*/ 564 h 564"/>
              <a:gd name="T102" fmla="*/ 572 w 1405"/>
              <a:gd name="T103" fmla="*/ 537 h 564"/>
              <a:gd name="T104" fmla="*/ 488 w 1405"/>
              <a:gd name="T105" fmla="*/ 459 h 564"/>
              <a:gd name="T106" fmla="*/ 453 w 1405"/>
              <a:gd name="T107" fmla="*/ 321 h 564"/>
              <a:gd name="T108" fmla="*/ 469 w 1405"/>
              <a:gd name="T109" fmla="*/ 165 h 564"/>
              <a:gd name="T110" fmla="*/ 538 w 1405"/>
              <a:gd name="T111" fmla="*/ 58 h 564"/>
              <a:gd name="T112" fmla="*/ 655 w 1405"/>
              <a:gd name="T113" fmla="*/ 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5" h="564">
                <a:moveTo>
                  <a:pt x="712" y="90"/>
                </a:moveTo>
                <a:lnTo>
                  <a:pt x="693" y="92"/>
                </a:lnTo>
                <a:lnTo>
                  <a:pt x="674" y="94"/>
                </a:lnTo>
                <a:lnTo>
                  <a:pt x="643" y="106"/>
                </a:lnTo>
                <a:lnTo>
                  <a:pt x="618" y="123"/>
                </a:lnTo>
                <a:lnTo>
                  <a:pt x="599" y="146"/>
                </a:lnTo>
                <a:lnTo>
                  <a:pt x="586" y="175"/>
                </a:lnTo>
                <a:lnTo>
                  <a:pt x="576" y="207"/>
                </a:lnTo>
                <a:lnTo>
                  <a:pt x="570" y="242"/>
                </a:lnTo>
                <a:lnTo>
                  <a:pt x="568" y="280"/>
                </a:lnTo>
                <a:lnTo>
                  <a:pt x="570" y="322"/>
                </a:lnTo>
                <a:lnTo>
                  <a:pt x="576" y="361"/>
                </a:lnTo>
                <a:lnTo>
                  <a:pt x="586" y="393"/>
                </a:lnTo>
                <a:lnTo>
                  <a:pt x="599" y="420"/>
                </a:lnTo>
                <a:lnTo>
                  <a:pt x="616" y="443"/>
                </a:lnTo>
                <a:lnTo>
                  <a:pt x="641" y="459"/>
                </a:lnTo>
                <a:lnTo>
                  <a:pt x="672" y="470"/>
                </a:lnTo>
                <a:lnTo>
                  <a:pt x="709" y="472"/>
                </a:lnTo>
                <a:lnTo>
                  <a:pt x="747" y="468"/>
                </a:lnTo>
                <a:lnTo>
                  <a:pt x="778" y="457"/>
                </a:lnTo>
                <a:lnTo>
                  <a:pt x="803" y="440"/>
                </a:lnTo>
                <a:lnTo>
                  <a:pt x="822" y="416"/>
                </a:lnTo>
                <a:lnTo>
                  <a:pt x="837" y="388"/>
                </a:lnTo>
                <a:lnTo>
                  <a:pt x="847" y="355"/>
                </a:lnTo>
                <a:lnTo>
                  <a:pt x="851" y="319"/>
                </a:lnTo>
                <a:lnTo>
                  <a:pt x="853" y="282"/>
                </a:lnTo>
                <a:lnTo>
                  <a:pt x="851" y="240"/>
                </a:lnTo>
                <a:lnTo>
                  <a:pt x="847" y="203"/>
                </a:lnTo>
                <a:lnTo>
                  <a:pt x="837" y="171"/>
                </a:lnTo>
                <a:lnTo>
                  <a:pt x="824" y="142"/>
                </a:lnTo>
                <a:lnTo>
                  <a:pt x="805" y="121"/>
                </a:lnTo>
                <a:lnTo>
                  <a:pt x="780" y="104"/>
                </a:lnTo>
                <a:lnTo>
                  <a:pt x="749" y="94"/>
                </a:lnTo>
                <a:lnTo>
                  <a:pt x="712" y="90"/>
                </a:lnTo>
                <a:lnTo>
                  <a:pt x="712" y="90"/>
                </a:lnTo>
                <a:close/>
                <a:moveTo>
                  <a:pt x="253" y="0"/>
                </a:moveTo>
                <a:lnTo>
                  <a:pt x="277" y="0"/>
                </a:lnTo>
                <a:lnTo>
                  <a:pt x="298" y="4"/>
                </a:lnTo>
                <a:lnTo>
                  <a:pt x="336" y="13"/>
                </a:lnTo>
                <a:lnTo>
                  <a:pt x="353" y="21"/>
                </a:lnTo>
                <a:lnTo>
                  <a:pt x="369" y="27"/>
                </a:lnTo>
                <a:lnTo>
                  <a:pt x="382" y="35"/>
                </a:lnTo>
                <a:lnTo>
                  <a:pt x="390" y="42"/>
                </a:lnTo>
                <a:lnTo>
                  <a:pt x="394" y="46"/>
                </a:lnTo>
                <a:lnTo>
                  <a:pt x="397" y="52"/>
                </a:lnTo>
                <a:lnTo>
                  <a:pt x="399" y="61"/>
                </a:lnTo>
                <a:lnTo>
                  <a:pt x="401" y="75"/>
                </a:lnTo>
                <a:lnTo>
                  <a:pt x="403" y="84"/>
                </a:lnTo>
                <a:lnTo>
                  <a:pt x="403" y="94"/>
                </a:lnTo>
                <a:lnTo>
                  <a:pt x="403" y="106"/>
                </a:lnTo>
                <a:lnTo>
                  <a:pt x="401" y="115"/>
                </a:lnTo>
                <a:lnTo>
                  <a:pt x="399" y="131"/>
                </a:lnTo>
                <a:lnTo>
                  <a:pt x="394" y="138"/>
                </a:lnTo>
                <a:lnTo>
                  <a:pt x="388" y="140"/>
                </a:lnTo>
                <a:lnTo>
                  <a:pt x="380" y="138"/>
                </a:lnTo>
                <a:lnTo>
                  <a:pt x="371" y="134"/>
                </a:lnTo>
                <a:lnTo>
                  <a:pt x="361" y="125"/>
                </a:lnTo>
                <a:lnTo>
                  <a:pt x="346" y="117"/>
                </a:lnTo>
                <a:lnTo>
                  <a:pt x="328" y="108"/>
                </a:lnTo>
                <a:lnTo>
                  <a:pt x="309" y="100"/>
                </a:lnTo>
                <a:lnTo>
                  <a:pt x="286" y="96"/>
                </a:lnTo>
                <a:lnTo>
                  <a:pt x="259" y="94"/>
                </a:lnTo>
                <a:lnTo>
                  <a:pt x="229" y="96"/>
                </a:lnTo>
                <a:lnTo>
                  <a:pt x="200" y="106"/>
                </a:lnTo>
                <a:lnTo>
                  <a:pt x="177" y="123"/>
                </a:lnTo>
                <a:lnTo>
                  <a:pt x="157" y="144"/>
                </a:lnTo>
                <a:lnTo>
                  <a:pt x="142" y="171"/>
                </a:lnTo>
                <a:lnTo>
                  <a:pt x="131" y="203"/>
                </a:lnTo>
                <a:lnTo>
                  <a:pt x="123" y="242"/>
                </a:lnTo>
                <a:lnTo>
                  <a:pt x="121" y="282"/>
                </a:lnTo>
                <a:lnTo>
                  <a:pt x="123" y="328"/>
                </a:lnTo>
                <a:lnTo>
                  <a:pt x="131" y="367"/>
                </a:lnTo>
                <a:lnTo>
                  <a:pt x="142" y="399"/>
                </a:lnTo>
                <a:lnTo>
                  <a:pt x="159" y="424"/>
                </a:lnTo>
                <a:lnTo>
                  <a:pt x="179" y="443"/>
                </a:lnTo>
                <a:lnTo>
                  <a:pt x="204" y="459"/>
                </a:lnTo>
                <a:lnTo>
                  <a:pt x="230" y="466"/>
                </a:lnTo>
                <a:lnTo>
                  <a:pt x="261" y="470"/>
                </a:lnTo>
                <a:lnTo>
                  <a:pt x="290" y="468"/>
                </a:lnTo>
                <a:lnTo>
                  <a:pt x="313" y="463"/>
                </a:lnTo>
                <a:lnTo>
                  <a:pt x="332" y="455"/>
                </a:lnTo>
                <a:lnTo>
                  <a:pt x="349" y="447"/>
                </a:lnTo>
                <a:lnTo>
                  <a:pt x="363" y="440"/>
                </a:lnTo>
                <a:lnTo>
                  <a:pt x="374" y="432"/>
                </a:lnTo>
                <a:lnTo>
                  <a:pt x="384" y="426"/>
                </a:lnTo>
                <a:lnTo>
                  <a:pt x="390" y="424"/>
                </a:lnTo>
                <a:lnTo>
                  <a:pt x="397" y="426"/>
                </a:lnTo>
                <a:lnTo>
                  <a:pt x="399" y="430"/>
                </a:lnTo>
                <a:lnTo>
                  <a:pt x="401" y="434"/>
                </a:lnTo>
                <a:lnTo>
                  <a:pt x="403" y="440"/>
                </a:lnTo>
                <a:lnTo>
                  <a:pt x="403" y="447"/>
                </a:lnTo>
                <a:lnTo>
                  <a:pt x="405" y="459"/>
                </a:lnTo>
                <a:lnTo>
                  <a:pt x="405" y="472"/>
                </a:lnTo>
                <a:lnTo>
                  <a:pt x="403" y="489"/>
                </a:lnTo>
                <a:lnTo>
                  <a:pt x="401" y="503"/>
                </a:lnTo>
                <a:lnTo>
                  <a:pt x="399" y="512"/>
                </a:lnTo>
                <a:lnTo>
                  <a:pt x="392" y="520"/>
                </a:lnTo>
                <a:lnTo>
                  <a:pt x="386" y="526"/>
                </a:lnTo>
                <a:lnTo>
                  <a:pt x="374" y="534"/>
                </a:lnTo>
                <a:lnTo>
                  <a:pt x="359" y="539"/>
                </a:lnTo>
                <a:lnTo>
                  <a:pt x="342" y="547"/>
                </a:lnTo>
                <a:lnTo>
                  <a:pt x="321" y="553"/>
                </a:lnTo>
                <a:lnTo>
                  <a:pt x="298" y="558"/>
                </a:lnTo>
                <a:lnTo>
                  <a:pt x="273" y="562"/>
                </a:lnTo>
                <a:lnTo>
                  <a:pt x="244" y="564"/>
                </a:lnTo>
                <a:lnTo>
                  <a:pt x="217" y="562"/>
                </a:lnTo>
                <a:lnTo>
                  <a:pt x="190" y="558"/>
                </a:lnTo>
                <a:lnTo>
                  <a:pt x="167" y="553"/>
                </a:lnTo>
                <a:lnTo>
                  <a:pt x="142" y="547"/>
                </a:lnTo>
                <a:lnTo>
                  <a:pt x="121" y="535"/>
                </a:lnTo>
                <a:lnTo>
                  <a:pt x="102" y="524"/>
                </a:lnTo>
                <a:lnTo>
                  <a:pt x="83" y="511"/>
                </a:lnTo>
                <a:lnTo>
                  <a:pt x="65" y="495"/>
                </a:lnTo>
                <a:lnTo>
                  <a:pt x="52" y="476"/>
                </a:lnTo>
                <a:lnTo>
                  <a:pt x="38" y="455"/>
                </a:lnTo>
                <a:lnTo>
                  <a:pt x="27" y="434"/>
                </a:lnTo>
                <a:lnTo>
                  <a:pt x="17" y="409"/>
                </a:lnTo>
                <a:lnTo>
                  <a:pt x="10" y="382"/>
                </a:lnTo>
                <a:lnTo>
                  <a:pt x="6" y="353"/>
                </a:lnTo>
                <a:lnTo>
                  <a:pt x="2" y="322"/>
                </a:lnTo>
                <a:lnTo>
                  <a:pt x="0" y="290"/>
                </a:lnTo>
                <a:lnTo>
                  <a:pt x="2" y="255"/>
                </a:lnTo>
                <a:lnTo>
                  <a:pt x="6" y="223"/>
                </a:lnTo>
                <a:lnTo>
                  <a:pt x="12" y="194"/>
                </a:lnTo>
                <a:lnTo>
                  <a:pt x="19" y="165"/>
                </a:lnTo>
                <a:lnTo>
                  <a:pt x="29" y="140"/>
                </a:lnTo>
                <a:lnTo>
                  <a:pt x="42" y="115"/>
                </a:lnTo>
                <a:lnTo>
                  <a:pt x="56" y="94"/>
                </a:lnTo>
                <a:lnTo>
                  <a:pt x="71" y="75"/>
                </a:lnTo>
                <a:lnTo>
                  <a:pt x="88" y="58"/>
                </a:lnTo>
                <a:lnTo>
                  <a:pt x="108" y="42"/>
                </a:lnTo>
                <a:lnTo>
                  <a:pt x="129" y="29"/>
                </a:lnTo>
                <a:lnTo>
                  <a:pt x="152" y="19"/>
                </a:lnTo>
                <a:lnTo>
                  <a:pt x="175" y="12"/>
                </a:lnTo>
                <a:lnTo>
                  <a:pt x="200" y="4"/>
                </a:lnTo>
                <a:lnTo>
                  <a:pt x="227" y="2"/>
                </a:lnTo>
                <a:lnTo>
                  <a:pt x="253" y="0"/>
                </a:lnTo>
                <a:lnTo>
                  <a:pt x="253" y="0"/>
                </a:lnTo>
                <a:close/>
                <a:moveTo>
                  <a:pt x="1215" y="0"/>
                </a:moveTo>
                <a:lnTo>
                  <a:pt x="1254" y="2"/>
                </a:lnTo>
                <a:lnTo>
                  <a:pt x="1288" y="10"/>
                </a:lnTo>
                <a:lnTo>
                  <a:pt x="1319" y="23"/>
                </a:lnTo>
                <a:lnTo>
                  <a:pt x="1342" y="40"/>
                </a:lnTo>
                <a:lnTo>
                  <a:pt x="1361" y="61"/>
                </a:lnTo>
                <a:lnTo>
                  <a:pt x="1373" y="84"/>
                </a:lnTo>
                <a:lnTo>
                  <a:pt x="1380" y="113"/>
                </a:lnTo>
                <a:lnTo>
                  <a:pt x="1384" y="142"/>
                </a:lnTo>
                <a:lnTo>
                  <a:pt x="1382" y="169"/>
                </a:lnTo>
                <a:lnTo>
                  <a:pt x="1379" y="194"/>
                </a:lnTo>
                <a:lnTo>
                  <a:pt x="1371" y="221"/>
                </a:lnTo>
                <a:lnTo>
                  <a:pt x="1357" y="250"/>
                </a:lnTo>
                <a:lnTo>
                  <a:pt x="1338" y="280"/>
                </a:lnTo>
                <a:lnTo>
                  <a:pt x="1313" y="315"/>
                </a:lnTo>
                <a:lnTo>
                  <a:pt x="1296" y="334"/>
                </a:lnTo>
                <a:lnTo>
                  <a:pt x="1279" y="355"/>
                </a:lnTo>
                <a:lnTo>
                  <a:pt x="1258" y="376"/>
                </a:lnTo>
                <a:lnTo>
                  <a:pt x="1235" y="399"/>
                </a:lnTo>
                <a:lnTo>
                  <a:pt x="1171" y="464"/>
                </a:lnTo>
                <a:lnTo>
                  <a:pt x="1386" y="464"/>
                </a:lnTo>
                <a:lnTo>
                  <a:pt x="1394" y="466"/>
                </a:lnTo>
                <a:lnTo>
                  <a:pt x="1400" y="476"/>
                </a:lnTo>
                <a:lnTo>
                  <a:pt x="1404" y="489"/>
                </a:lnTo>
                <a:lnTo>
                  <a:pt x="1405" y="509"/>
                </a:lnTo>
                <a:lnTo>
                  <a:pt x="1405" y="530"/>
                </a:lnTo>
                <a:lnTo>
                  <a:pt x="1402" y="545"/>
                </a:lnTo>
                <a:lnTo>
                  <a:pt x="1396" y="553"/>
                </a:lnTo>
                <a:lnTo>
                  <a:pt x="1388" y="555"/>
                </a:lnTo>
                <a:lnTo>
                  <a:pt x="1075" y="555"/>
                </a:lnTo>
                <a:lnTo>
                  <a:pt x="1058" y="553"/>
                </a:lnTo>
                <a:lnTo>
                  <a:pt x="1048" y="547"/>
                </a:lnTo>
                <a:lnTo>
                  <a:pt x="1045" y="541"/>
                </a:lnTo>
                <a:lnTo>
                  <a:pt x="1041" y="532"/>
                </a:lnTo>
                <a:lnTo>
                  <a:pt x="1041" y="522"/>
                </a:lnTo>
                <a:lnTo>
                  <a:pt x="1039" y="509"/>
                </a:lnTo>
                <a:lnTo>
                  <a:pt x="1041" y="495"/>
                </a:lnTo>
                <a:lnTo>
                  <a:pt x="1041" y="484"/>
                </a:lnTo>
                <a:lnTo>
                  <a:pt x="1045" y="466"/>
                </a:lnTo>
                <a:lnTo>
                  <a:pt x="1054" y="451"/>
                </a:lnTo>
                <a:lnTo>
                  <a:pt x="1068" y="436"/>
                </a:lnTo>
                <a:lnTo>
                  <a:pt x="1162" y="334"/>
                </a:lnTo>
                <a:lnTo>
                  <a:pt x="1189" y="305"/>
                </a:lnTo>
                <a:lnTo>
                  <a:pt x="1208" y="280"/>
                </a:lnTo>
                <a:lnTo>
                  <a:pt x="1223" y="257"/>
                </a:lnTo>
                <a:lnTo>
                  <a:pt x="1235" y="236"/>
                </a:lnTo>
                <a:lnTo>
                  <a:pt x="1242" y="217"/>
                </a:lnTo>
                <a:lnTo>
                  <a:pt x="1248" y="200"/>
                </a:lnTo>
                <a:lnTo>
                  <a:pt x="1252" y="167"/>
                </a:lnTo>
                <a:lnTo>
                  <a:pt x="1250" y="154"/>
                </a:lnTo>
                <a:lnTo>
                  <a:pt x="1248" y="140"/>
                </a:lnTo>
                <a:lnTo>
                  <a:pt x="1242" y="129"/>
                </a:lnTo>
                <a:lnTo>
                  <a:pt x="1235" y="119"/>
                </a:lnTo>
                <a:lnTo>
                  <a:pt x="1225" y="111"/>
                </a:lnTo>
                <a:lnTo>
                  <a:pt x="1212" y="104"/>
                </a:lnTo>
                <a:lnTo>
                  <a:pt x="1198" y="100"/>
                </a:lnTo>
                <a:lnTo>
                  <a:pt x="1181" y="100"/>
                </a:lnTo>
                <a:lnTo>
                  <a:pt x="1158" y="100"/>
                </a:lnTo>
                <a:lnTo>
                  <a:pt x="1137" y="106"/>
                </a:lnTo>
                <a:lnTo>
                  <a:pt x="1119" y="111"/>
                </a:lnTo>
                <a:lnTo>
                  <a:pt x="1104" y="119"/>
                </a:lnTo>
                <a:lnTo>
                  <a:pt x="1091" y="127"/>
                </a:lnTo>
                <a:lnTo>
                  <a:pt x="1079" y="134"/>
                </a:lnTo>
                <a:lnTo>
                  <a:pt x="1071" y="138"/>
                </a:lnTo>
                <a:lnTo>
                  <a:pt x="1064" y="140"/>
                </a:lnTo>
                <a:lnTo>
                  <a:pt x="1058" y="138"/>
                </a:lnTo>
                <a:lnTo>
                  <a:pt x="1054" y="129"/>
                </a:lnTo>
                <a:lnTo>
                  <a:pt x="1052" y="123"/>
                </a:lnTo>
                <a:lnTo>
                  <a:pt x="1050" y="113"/>
                </a:lnTo>
                <a:lnTo>
                  <a:pt x="1050" y="102"/>
                </a:lnTo>
                <a:lnTo>
                  <a:pt x="1050" y="90"/>
                </a:lnTo>
                <a:lnTo>
                  <a:pt x="1050" y="73"/>
                </a:lnTo>
                <a:lnTo>
                  <a:pt x="1052" y="61"/>
                </a:lnTo>
                <a:lnTo>
                  <a:pt x="1056" y="54"/>
                </a:lnTo>
                <a:lnTo>
                  <a:pt x="1064" y="44"/>
                </a:lnTo>
                <a:lnTo>
                  <a:pt x="1069" y="38"/>
                </a:lnTo>
                <a:lnTo>
                  <a:pt x="1083" y="33"/>
                </a:lnTo>
                <a:lnTo>
                  <a:pt x="1098" y="25"/>
                </a:lnTo>
                <a:lnTo>
                  <a:pt x="1117" y="17"/>
                </a:lnTo>
                <a:lnTo>
                  <a:pt x="1139" y="10"/>
                </a:lnTo>
                <a:lnTo>
                  <a:pt x="1164" y="4"/>
                </a:lnTo>
                <a:lnTo>
                  <a:pt x="1189" y="0"/>
                </a:lnTo>
                <a:lnTo>
                  <a:pt x="1215" y="0"/>
                </a:lnTo>
                <a:lnTo>
                  <a:pt x="1215" y="0"/>
                </a:lnTo>
                <a:close/>
                <a:moveTo>
                  <a:pt x="716" y="0"/>
                </a:moveTo>
                <a:lnTo>
                  <a:pt x="747" y="0"/>
                </a:lnTo>
                <a:lnTo>
                  <a:pt x="774" y="4"/>
                </a:lnTo>
                <a:lnTo>
                  <a:pt x="801" y="8"/>
                </a:lnTo>
                <a:lnTo>
                  <a:pt x="826" y="15"/>
                </a:lnTo>
                <a:lnTo>
                  <a:pt x="849" y="25"/>
                </a:lnTo>
                <a:lnTo>
                  <a:pt x="870" y="37"/>
                </a:lnTo>
                <a:lnTo>
                  <a:pt x="887" y="50"/>
                </a:lnTo>
                <a:lnTo>
                  <a:pt x="904" y="65"/>
                </a:lnTo>
                <a:lnTo>
                  <a:pt x="920" y="84"/>
                </a:lnTo>
                <a:lnTo>
                  <a:pt x="933" y="106"/>
                </a:lnTo>
                <a:lnTo>
                  <a:pt x="945" y="127"/>
                </a:lnTo>
                <a:lnTo>
                  <a:pt x="952" y="152"/>
                </a:lnTo>
                <a:lnTo>
                  <a:pt x="960" y="180"/>
                </a:lnTo>
                <a:lnTo>
                  <a:pt x="966" y="209"/>
                </a:lnTo>
                <a:lnTo>
                  <a:pt x="968" y="242"/>
                </a:lnTo>
                <a:lnTo>
                  <a:pt x="970" y="274"/>
                </a:lnTo>
                <a:lnTo>
                  <a:pt x="968" y="309"/>
                </a:lnTo>
                <a:lnTo>
                  <a:pt x="966" y="340"/>
                </a:lnTo>
                <a:lnTo>
                  <a:pt x="960" y="368"/>
                </a:lnTo>
                <a:lnTo>
                  <a:pt x="952" y="397"/>
                </a:lnTo>
                <a:lnTo>
                  <a:pt x="943" y="422"/>
                </a:lnTo>
                <a:lnTo>
                  <a:pt x="931" y="447"/>
                </a:lnTo>
                <a:lnTo>
                  <a:pt x="918" y="468"/>
                </a:lnTo>
                <a:lnTo>
                  <a:pt x="902" y="487"/>
                </a:lnTo>
                <a:lnTo>
                  <a:pt x="885" y="505"/>
                </a:lnTo>
                <a:lnTo>
                  <a:pt x="864" y="520"/>
                </a:lnTo>
                <a:lnTo>
                  <a:pt x="843" y="534"/>
                </a:lnTo>
                <a:lnTo>
                  <a:pt x="820" y="545"/>
                </a:lnTo>
                <a:lnTo>
                  <a:pt x="795" y="553"/>
                </a:lnTo>
                <a:lnTo>
                  <a:pt x="766" y="558"/>
                </a:lnTo>
                <a:lnTo>
                  <a:pt x="737" y="562"/>
                </a:lnTo>
                <a:lnTo>
                  <a:pt x="707" y="564"/>
                </a:lnTo>
                <a:lnTo>
                  <a:pt x="676" y="562"/>
                </a:lnTo>
                <a:lnTo>
                  <a:pt x="647" y="560"/>
                </a:lnTo>
                <a:lnTo>
                  <a:pt x="620" y="555"/>
                </a:lnTo>
                <a:lnTo>
                  <a:pt x="595" y="547"/>
                </a:lnTo>
                <a:lnTo>
                  <a:pt x="572" y="537"/>
                </a:lnTo>
                <a:lnTo>
                  <a:pt x="551" y="526"/>
                </a:lnTo>
                <a:lnTo>
                  <a:pt x="532" y="512"/>
                </a:lnTo>
                <a:lnTo>
                  <a:pt x="517" y="497"/>
                </a:lnTo>
                <a:lnTo>
                  <a:pt x="501" y="478"/>
                </a:lnTo>
                <a:lnTo>
                  <a:pt x="488" y="459"/>
                </a:lnTo>
                <a:lnTo>
                  <a:pt x="476" y="436"/>
                </a:lnTo>
                <a:lnTo>
                  <a:pt x="469" y="411"/>
                </a:lnTo>
                <a:lnTo>
                  <a:pt x="461" y="382"/>
                </a:lnTo>
                <a:lnTo>
                  <a:pt x="457" y="353"/>
                </a:lnTo>
                <a:lnTo>
                  <a:pt x="453" y="321"/>
                </a:lnTo>
                <a:lnTo>
                  <a:pt x="453" y="286"/>
                </a:lnTo>
                <a:lnTo>
                  <a:pt x="453" y="253"/>
                </a:lnTo>
                <a:lnTo>
                  <a:pt x="457" y="223"/>
                </a:lnTo>
                <a:lnTo>
                  <a:pt x="463" y="194"/>
                </a:lnTo>
                <a:lnTo>
                  <a:pt x="469" y="165"/>
                </a:lnTo>
                <a:lnTo>
                  <a:pt x="478" y="140"/>
                </a:lnTo>
                <a:lnTo>
                  <a:pt x="490" y="117"/>
                </a:lnTo>
                <a:lnTo>
                  <a:pt x="503" y="96"/>
                </a:lnTo>
                <a:lnTo>
                  <a:pt x="520" y="77"/>
                </a:lnTo>
                <a:lnTo>
                  <a:pt x="538" y="58"/>
                </a:lnTo>
                <a:lnTo>
                  <a:pt x="557" y="42"/>
                </a:lnTo>
                <a:lnTo>
                  <a:pt x="578" y="31"/>
                </a:lnTo>
                <a:lnTo>
                  <a:pt x="603" y="19"/>
                </a:lnTo>
                <a:lnTo>
                  <a:pt x="628" y="10"/>
                </a:lnTo>
                <a:lnTo>
                  <a:pt x="655" y="4"/>
                </a:lnTo>
                <a:lnTo>
                  <a:pt x="685" y="0"/>
                </a:lnTo>
                <a:lnTo>
                  <a:pt x="716" y="0"/>
                </a:lnTo>
                <a:lnTo>
                  <a:pt x="716" y="0"/>
                </a:lnTo>
                <a:close/>
              </a:path>
            </a:pathLst>
          </a:custGeom>
          <a:noFill/>
          <a:ln w="19050">
            <a:solidFill>
              <a:schemeClr val="tx2"/>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p:txBody>
      </p:sp>
      <p:grpSp>
        <p:nvGrpSpPr>
          <p:cNvPr id="49" name="Google Shape;3805;p70">
            <a:extLst>
              <a:ext uri="{FF2B5EF4-FFF2-40B4-BE49-F238E27FC236}">
                <a16:creationId xmlns:a16="http://schemas.microsoft.com/office/drawing/2014/main" id="{91F80108-01D6-751B-9678-4653EC3FD1C3}"/>
              </a:ext>
            </a:extLst>
          </p:cNvPr>
          <p:cNvGrpSpPr/>
          <p:nvPr/>
        </p:nvGrpSpPr>
        <p:grpSpPr>
          <a:xfrm>
            <a:off x="707573" y="3445287"/>
            <a:ext cx="575625" cy="517869"/>
            <a:chOff x="7323988" y="2064149"/>
            <a:chExt cx="662669" cy="597690"/>
          </a:xfrm>
          <a:solidFill>
            <a:schemeClr val="tx2"/>
          </a:solidFill>
        </p:grpSpPr>
        <p:sp>
          <p:nvSpPr>
            <p:cNvPr id="50" name="Google Shape;3806;p70">
              <a:extLst>
                <a:ext uri="{FF2B5EF4-FFF2-40B4-BE49-F238E27FC236}">
                  <a16:creationId xmlns:a16="http://schemas.microsoft.com/office/drawing/2014/main" id="{DCBF2D35-2BE3-D125-9627-45171BD99D6F}"/>
                </a:ext>
              </a:extLst>
            </p:cNvPr>
            <p:cNvSpPr/>
            <p:nvPr/>
          </p:nvSpPr>
          <p:spPr>
            <a:xfrm>
              <a:off x="7736275" y="2274549"/>
              <a:ext cx="250382" cy="133269"/>
            </a:xfrm>
            <a:custGeom>
              <a:avLst/>
              <a:gdLst/>
              <a:ahLst/>
              <a:cxnLst/>
              <a:rect l="l" t="t" r="r" b="b"/>
              <a:pathLst>
                <a:path w="97" h="52" extrusionOk="0">
                  <a:moveTo>
                    <a:pt x="80" y="7"/>
                  </a:moveTo>
                  <a:cubicBezTo>
                    <a:pt x="59" y="0"/>
                    <a:pt x="37" y="0"/>
                    <a:pt x="17" y="7"/>
                  </a:cubicBezTo>
                  <a:cubicBezTo>
                    <a:pt x="7" y="10"/>
                    <a:pt x="0" y="20"/>
                    <a:pt x="0" y="31"/>
                  </a:cubicBezTo>
                  <a:cubicBezTo>
                    <a:pt x="0" y="39"/>
                    <a:pt x="6" y="45"/>
                    <a:pt x="13" y="48"/>
                  </a:cubicBezTo>
                  <a:cubicBezTo>
                    <a:pt x="25" y="51"/>
                    <a:pt x="37" y="52"/>
                    <a:pt x="48" y="52"/>
                  </a:cubicBezTo>
                  <a:cubicBezTo>
                    <a:pt x="60" y="52"/>
                    <a:pt x="72" y="51"/>
                    <a:pt x="84" y="48"/>
                  </a:cubicBezTo>
                  <a:cubicBezTo>
                    <a:pt x="91" y="45"/>
                    <a:pt x="97" y="38"/>
                    <a:pt x="97" y="31"/>
                  </a:cubicBezTo>
                  <a:cubicBezTo>
                    <a:pt x="97" y="20"/>
                    <a:pt x="90" y="10"/>
                    <a:pt x="80" y="7"/>
                  </a:cubicBezTo>
                  <a:close/>
                  <a:moveTo>
                    <a:pt x="16" y="38"/>
                  </a:moveTo>
                  <a:cubicBezTo>
                    <a:pt x="12" y="37"/>
                    <a:pt x="10" y="34"/>
                    <a:pt x="10" y="31"/>
                  </a:cubicBezTo>
                  <a:cubicBezTo>
                    <a:pt x="10" y="24"/>
                    <a:pt x="14" y="18"/>
                    <a:pt x="20" y="16"/>
                  </a:cubicBezTo>
                  <a:cubicBezTo>
                    <a:pt x="29" y="13"/>
                    <a:pt x="39" y="12"/>
                    <a:pt x="48" y="12"/>
                  </a:cubicBezTo>
                  <a:cubicBezTo>
                    <a:pt x="58" y="12"/>
                    <a:pt x="68" y="13"/>
                    <a:pt x="77" y="16"/>
                  </a:cubicBezTo>
                  <a:cubicBezTo>
                    <a:pt x="83" y="18"/>
                    <a:pt x="87" y="24"/>
                    <a:pt x="87" y="31"/>
                  </a:cubicBezTo>
                  <a:cubicBezTo>
                    <a:pt x="87" y="34"/>
                    <a:pt x="84" y="37"/>
                    <a:pt x="81" y="38"/>
                  </a:cubicBezTo>
                  <a:cubicBezTo>
                    <a:pt x="60" y="44"/>
                    <a:pt x="37" y="44"/>
                    <a:pt x="16" y="38"/>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grpSp>
          <p:nvGrpSpPr>
            <p:cNvPr id="51" name="Google Shape;3807;p70">
              <a:extLst>
                <a:ext uri="{FF2B5EF4-FFF2-40B4-BE49-F238E27FC236}">
                  <a16:creationId xmlns:a16="http://schemas.microsoft.com/office/drawing/2014/main" id="{6FA6F654-EFC5-8757-1CD8-6E1159EE4221}"/>
                </a:ext>
              </a:extLst>
            </p:cNvPr>
            <p:cNvGrpSpPr/>
            <p:nvPr/>
          </p:nvGrpSpPr>
          <p:grpSpPr>
            <a:xfrm>
              <a:off x="7323988" y="2064149"/>
              <a:ext cx="617882" cy="597690"/>
              <a:chOff x="3900487" y="1962151"/>
              <a:chExt cx="242888" cy="234950"/>
            </a:xfrm>
            <a:grpFill/>
          </p:grpSpPr>
          <p:sp>
            <p:nvSpPr>
              <p:cNvPr id="52" name="Google Shape;3808;p70">
                <a:extLst>
                  <a:ext uri="{FF2B5EF4-FFF2-40B4-BE49-F238E27FC236}">
                    <a16:creationId xmlns:a16="http://schemas.microsoft.com/office/drawing/2014/main" id="{41A7509C-4B44-D58F-B364-C313343BFB1D}"/>
                  </a:ext>
                </a:extLst>
              </p:cNvPr>
              <p:cNvSpPr/>
              <p:nvPr/>
            </p:nvSpPr>
            <p:spPr>
              <a:xfrm>
                <a:off x="3922712" y="1984376"/>
                <a:ext cx="52388" cy="57150"/>
              </a:xfrm>
              <a:custGeom>
                <a:avLst/>
                <a:gdLst/>
                <a:ahLst/>
                <a:cxnLst/>
                <a:rect l="l" t="t" r="r" b="b"/>
                <a:pathLst>
                  <a:path w="52" h="57" extrusionOk="0">
                    <a:moveTo>
                      <a:pt x="26" y="0"/>
                    </a:moveTo>
                    <a:cubicBezTo>
                      <a:pt x="19" y="0"/>
                      <a:pt x="12" y="3"/>
                      <a:pt x="7" y="8"/>
                    </a:cubicBezTo>
                    <a:cubicBezTo>
                      <a:pt x="2" y="13"/>
                      <a:pt x="0" y="20"/>
                      <a:pt x="0" y="27"/>
                    </a:cubicBezTo>
                    <a:cubicBezTo>
                      <a:pt x="0" y="31"/>
                      <a:pt x="0" y="31"/>
                      <a:pt x="0" y="31"/>
                    </a:cubicBezTo>
                    <a:cubicBezTo>
                      <a:pt x="0" y="38"/>
                      <a:pt x="2" y="45"/>
                      <a:pt x="7" y="50"/>
                    </a:cubicBezTo>
                    <a:cubicBezTo>
                      <a:pt x="12" y="55"/>
                      <a:pt x="19" y="57"/>
                      <a:pt x="26" y="57"/>
                    </a:cubicBezTo>
                    <a:cubicBezTo>
                      <a:pt x="41" y="57"/>
                      <a:pt x="52" y="46"/>
                      <a:pt x="52" y="31"/>
                    </a:cubicBezTo>
                    <a:cubicBezTo>
                      <a:pt x="52" y="27"/>
                      <a:pt x="52" y="27"/>
                      <a:pt x="52" y="27"/>
                    </a:cubicBezTo>
                    <a:cubicBezTo>
                      <a:pt x="52" y="12"/>
                      <a:pt x="41" y="0"/>
                      <a:pt x="26" y="0"/>
                    </a:cubicBezTo>
                    <a:close/>
                    <a:moveTo>
                      <a:pt x="43" y="27"/>
                    </a:moveTo>
                    <a:cubicBezTo>
                      <a:pt x="43" y="31"/>
                      <a:pt x="43" y="31"/>
                      <a:pt x="43" y="31"/>
                    </a:cubicBezTo>
                    <a:cubicBezTo>
                      <a:pt x="43" y="40"/>
                      <a:pt x="35" y="48"/>
                      <a:pt x="26" y="48"/>
                    </a:cubicBezTo>
                    <a:cubicBezTo>
                      <a:pt x="22" y="48"/>
                      <a:pt x="17" y="46"/>
                      <a:pt x="14" y="43"/>
                    </a:cubicBezTo>
                    <a:cubicBezTo>
                      <a:pt x="11" y="40"/>
                      <a:pt x="9" y="35"/>
                      <a:pt x="9" y="31"/>
                    </a:cubicBezTo>
                    <a:cubicBezTo>
                      <a:pt x="9" y="27"/>
                      <a:pt x="9" y="27"/>
                      <a:pt x="9" y="27"/>
                    </a:cubicBezTo>
                    <a:cubicBezTo>
                      <a:pt x="9" y="22"/>
                      <a:pt x="11" y="18"/>
                      <a:pt x="14" y="15"/>
                    </a:cubicBezTo>
                    <a:cubicBezTo>
                      <a:pt x="17" y="12"/>
                      <a:pt x="22" y="10"/>
                      <a:pt x="26" y="10"/>
                    </a:cubicBezTo>
                    <a:cubicBezTo>
                      <a:pt x="26" y="10"/>
                      <a:pt x="26" y="10"/>
                      <a:pt x="26" y="10"/>
                    </a:cubicBezTo>
                    <a:cubicBezTo>
                      <a:pt x="35" y="10"/>
                      <a:pt x="43" y="17"/>
                      <a:pt x="43" y="27"/>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3" name="Google Shape;3809;p70">
                <a:extLst>
                  <a:ext uri="{FF2B5EF4-FFF2-40B4-BE49-F238E27FC236}">
                    <a16:creationId xmlns:a16="http://schemas.microsoft.com/office/drawing/2014/main" id="{E8B8296E-314A-9355-2024-9D6552F28A85}"/>
                  </a:ext>
                </a:extLst>
              </p:cNvPr>
              <p:cNvSpPr/>
              <p:nvPr/>
            </p:nvSpPr>
            <p:spPr>
              <a:xfrm>
                <a:off x="3900487" y="2041526"/>
                <a:ext cx="96838" cy="52388"/>
              </a:xfrm>
              <a:custGeom>
                <a:avLst/>
                <a:gdLst/>
                <a:ahLst/>
                <a:cxnLst/>
                <a:rect l="l" t="t" r="r" b="b"/>
                <a:pathLst>
                  <a:path w="96" h="52" extrusionOk="0">
                    <a:moveTo>
                      <a:pt x="79" y="7"/>
                    </a:moveTo>
                    <a:cubicBezTo>
                      <a:pt x="59" y="0"/>
                      <a:pt x="37" y="0"/>
                      <a:pt x="17" y="7"/>
                    </a:cubicBezTo>
                    <a:cubicBezTo>
                      <a:pt x="7" y="10"/>
                      <a:pt x="0" y="20"/>
                      <a:pt x="0" y="31"/>
                    </a:cubicBezTo>
                    <a:cubicBezTo>
                      <a:pt x="0" y="39"/>
                      <a:pt x="5" y="45"/>
                      <a:pt x="13" y="48"/>
                    </a:cubicBezTo>
                    <a:cubicBezTo>
                      <a:pt x="24" y="51"/>
                      <a:pt x="36" y="52"/>
                      <a:pt x="48" y="52"/>
                    </a:cubicBezTo>
                    <a:cubicBezTo>
                      <a:pt x="60" y="52"/>
                      <a:pt x="72" y="51"/>
                      <a:pt x="83" y="48"/>
                    </a:cubicBezTo>
                    <a:cubicBezTo>
                      <a:pt x="91" y="45"/>
                      <a:pt x="96" y="38"/>
                      <a:pt x="96" y="31"/>
                    </a:cubicBezTo>
                    <a:cubicBezTo>
                      <a:pt x="96" y="20"/>
                      <a:pt x="89" y="10"/>
                      <a:pt x="79" y="7"/>
                    </a:cubicBezTo>
                    <a:close/>
                    <a:moveTo>
                      <a:pt x="86" y="31"/>
                    </a:moveTo>
                    <a:cubicBezTo>
                      <a:pt x="86" y="34"/>
                      <a:pt x="84" y="37"/>
                      <a:pt x="80" y="38"/>
                    </a:cubicBezTo>
                    <a:cubicBezTo>
                      <a:pt x="59" y="44"/>
                      <a:pt x="37" y="44"/>
                      <a:pt x="15" y="38"/>
                    </a:cubicBezTo>
                    <a:cubicBezTo>
                      <a:pt x="12" y="37"/>
                      <a:pt x="10" y="34"/>
                      <a:pt x="10" y="31"/>
                    </a:cubicBezTo>
                    <a:cubicBezTo>
                      <a:pt x="10" y="24"/>
                      <a:pt x="14" y="18"/>
                      <a:pt x="20" y="16"/>
                    </a:cubicBezTo>
                    <a:cubicBezTo>
                      <a:pt x="29" y="13"/>
                      <a:pt x="38" y="12"/>
                      <a:pt x="48" y="12"/>
                    </a:cubicBezTo>
                    <a:cubicBezTo>
                      <a:pt x="58" y="12"/>
                      <a:pt x="67" y="13"/>
                      <a:pt x="76" y="16"/>
                    </a:cubicBezTo>
                    <a:cubicBezTo>
                      <a:pt x="82" y="18"/>
                      <a:pt x="86" y="24"/>
                      <a:pt x="86" y="31"/>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4" name="Google Shape;3810;p70">
                <a:extLst>
                  <a:ext uri="{FF2B5EF4-FFF2-40B4-BE49-F238E27FC236}">
                    <a16:creationId xmlns:a16="http://schemas.microsoft.com/office/drawing/2014/main" id="{110A3B90-F886-D2FA-70CF-01C428E666EE}"/>
                  </a:ext>
                </a:extLst>
              </p:cNvPr>
              <p:cNvSpPr/>
              <p:nvPr/>
            </p:nvSpPr>
            <p:spPr>
              <a:xfrm>
                <a:off x="4089400" y="1984376"/>
                <a:ext cx="53975" cy="57150"/>
              </a:xfrm>
              <a:custGeom>
                <a:avLst/>
                <a:gdLst/>
                <a:ahLst/>
                <a:cxnLst/>
                <a:rect l="l" t="t" r="r" b="b"/>
                <a:pathLst>
                  <a:path w="53" h="57" extrusionOk="0">
                    <a:moveTo>
                      <a:pt x="26" y="0"/>
                    </a:moveTo>
                    <a:cubicBezTo>
                      <a:pt x="19" y="0"/>
                      <a:pt x="13" y="3"/>
                      <a:pt x="8" y="8"/>
                    </a:cubicBezTo>
                    <a:cubicBezTo>
                      <a:pt x="3" y="13"/>
                      <a:pt x="0" y="20"/>
                      <a:pt x="0" y="27"/>
                    </a:cubicBezTo>
                    <a:cubicBezTo>
                      <a:pt x="0" y="31"/>
                      <a:pt x="0" y="31"/>
                      <a:pt x="0" y="31"/>
                    </a:cubicBezTo>
                    <a:cubicBezTo>
                      <a:pt x="0" y="46"/>
                      <a:pt x="12" y="57"/>
                      <a:pt x="26" y="57"/>
                    </a:cubicBezTo>
                    <a:cubicBezTo>
                      <a:pt x="41" y="57"/>
                      <a:pt x="53" y="46"/>
                      <a:pt x="53" y="31"/>
                    </a:cubicBezTo>
                    <a:cubicBezTo>
                      <a:pt x="53" y="27"/>
                      <a:pt x="53" y="27"/>
                      <a:pt x="53" y="27"/>
                    </a:cubicBezTo>
                    <a:cubicBezTo>
                      <a:pt x="53" y="12"/>
                      <a:pt x="41" y="0"/>
                      <a:pt x="26" y="0"/>
                    </a:cubicBezTo>
                    <a:close/>
                    <a:moveTo>
                      <a:pt x="43" y="31"/>
                    </a:moveTo>
                    <a:cubicBezTo>
                      <a:pt x="43" y="40"/>
                      <a:pt x="36" y="48"/>
                      <a:pt x="26" y="48"/>
                    </a:cubicBezTo>
                    <a:cubicBezTo>
                      <a:pt x="17" y="48"/>
                      <a:pt x="10" y="40"/>
                      <a:pt x="10" y="31"/>
                    </a:cubicBezTo>
                    <a:cubicBezTo>
                      <a:pt x="10" y="27"/>
                      <a:pt x="10" y="27"/>
                      <a:pt x="10" y="27"/>
                    </a:cubicBezTo>
                    <a:cubicBezTo>
                      <a:pt x="10" y="22"/>
                      <a:pt x="11" y="18"/>
                      <a:pt x="15" y="15"/>
                    </a:cubicBezTo>
                    <a:cubicBezTo>
                      <a:pt x="18" y="12"/>
                      <a:pt x="22" y="10"/>
                      <a:pt x="26" y="10"/>
                    </a:cubicBezTo>
                    <a:cubicBezTo>
                      <a:pt x="26" y="10"/>
                      <a:pt x="26" y="10"/>
                      <a:pt x="26" y="10"/>
                    </a:cubicBezTo>
                    <a:cubicBezTo>
                      <a:pt x="36" y="10"/>
                      <a:pt x="43" y="17"/>
                      <a:pt x="43" y="27"/>
                    </a:cubicBezTo>
                    <a:lnTo>
                      <a:pt x="43" y="31"/>
                    </a:ln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5" name="Google Shape;3811;p70">
                <a:extLst>
                  <a:ext uri="{FF2B5EF4-FFF2-40B4-BE49-F238E27FC236}">
                    <a16:creationId xmlns:a16="http://schemas.microsoft.com/office/drawing/2014/main" id="{FF0FA47E-2818-5413-6569-860BB97FEAEC}"/>
                  </a:ext>
                </a:extLst>
              </p:cNvPr>
              <p:cNvSpPr/>
              <p:nvPr/>
            </p:nvSpPr>
            <p:spPr>
              <a:xfrm>
                <a:off x="4005262" y="2087563"/>
                <a:ext cx="53975" cy="57150"/>
              </a:xfrm>
              <a:custGeom>
                <a:avLst/>
                <a:gdLst/>
                <a:ahLst/>
                <a:cxnLst/>
                <a:rect l="l" t="t" r="r" b="b"/>
                <a:pathLst>
                  <a:path w="53" h="57" extrusionOk="0">
                    <a:moveTo>
                      <a:pt x="27" y="0"/>
                    </a:moveTo>
                    <a:cubicBezTo>
                      <a:pt x="12" y="0"/>
                      <a:pt x="0" y="12"/>
                      <a:pt x="0" y="26"/>
                    </a:cubicBezTo>
                    <a:cubicBezTo>
                      <a:pt x="0" y="31"/>
                      <a:pt x="0" y="31"/>
                      <a:pt x="0" y="31"/>
                    </a:cubicBezTo>
                    <a:cubicBezTo>
                      <a:pt x="0" y="45"/>
                      <a:pt x="12" y="57"/>
                      <a:pt x="27" y="57"/>
                    </a:cubicBezTo>
                    <a:cubicBezTo>
                      <a:pt x="34" y="57"/>
                      <a:pt x="40" y="54"/>
                      <a:pt x="45" y="49"/>
                    </a:cubicBezTo>
                    <a:cubicBezTo>
                      <a:pt x="50" y="44"/>
                      <a:pt x="53" y="38"/>
                      <a:pt x="53" y="31"/>
                    </a:cubicBezTo>
                    <a:cubicBezTo>
                      <a:pt x="53" y="26"/>
                      <a:pt x="53" y="26"/>
                      <a:pt x="53" y="26"/>
                    </a:cubicBezTo>
                    <a:cubicBezTo>
                      <a:pt x="53" y="12"/>
                      <a:pt x="41" y="0"/>
                      <a:pt x="27" y="0"/>
                    </a:cubicBezTo>
                    <a:close/>
                    <a:moveTo>
                      <a:pt x="43" y="26"/>
                    </a:moveTo>
                    <a:cubicBezTo>
                      <a:pt x="43" y="31"/>
                      <a:pt x="43" y="31"/>
                      <a:pt x="43" y="31"/>
                    </a:cubicBezTo>
                    <a:cubicBezTo>
                      <a:pt x="43" y="35"/>
                      <a:pt x="42" y="39"/>
                      <a:pt x="38" y="43"/>
                    </a:cubicBezTo>
                    <a:cubicBezTo>
                      <a:pt x="35" y="46"/>
                      <a:pt x="31" y="47"/>
                      <a:pt x="27" y="47"/>
                    </a:cubicBezTo>
                    <a:cubicBezTo>
                      <a:pt x="18" y="47"/>
                      <a:pt x="10" y="40"/>
                      <a:pt x="10" y="31"/>
                    </a:cubicBezTo>
                    <a:cubicBezTo>
                      <a:pt x="10" y="26"/>
                      <a:pt x="10" y="26"/>
                      <a:pt x="10" y="26"/>
                    </a:cubicBezTo>
                    <a:cubicBezTo>
                      <a:pt x="10" y="17"/>
                      <a:pt x="18" y="10"/>
                      <a:pt x="27" y="10"/>
                    </a:cubicBezTo>
                    <a:cubicBezTo>
                      <a:pt x="36" y="10"/>
                      <a:pt x="43" y="17"/>
                      <a:pt x="43" y="26"/>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6" name="Google Shape;3812;p70">
                <a:extLst>
                  <a:ext uri="{FF2B5EF4-FFF2-40B4-BE49-F238E27FC236}">
                    <a16:creationId xmlns:a16="http://schemas.microsoft.com/office/drawing/2014/main" id="{3573E186-6DFC-F518-4F62-D6C1BA582B7E}"/>
                  </a:ext>
                </a:extLst>
              </p:cNvPr>
              <p:cNvSpPr/>
              <p:nvPr/>
            </p:nvSpPr>
            <p:spPr>
              <a:xfrm>
                <a:off x="3984625" y="2144713"/>
                <a:ext cx="96838" cy="52388"/>
              </a:xfrm>
              <a:custGeom>
                <a:avLst/>
                <a:gdLst/>
                <a:ahLst/>
                <a:cxnLst/>
                <a:rect l="l" t="t" r="r" b="b"/>
                <a:pathLst>
                  <a:path w="96" h="52" extrusionOk="0">
                    <a:moveTo>
                      <a:pt x="79" y="7"/>
                    </a:moveTo>
                    <a:cubicBezTo>
                      <a:pt x="59" y="0"/>
                      <a:pt x="37" y="0"/>
                      <a:pt x="16" y="7"/>
                    </a:cubicBezTo>
                    <a:cubicBezTo>
                      <a:pt x="6" y="10"/>
                      <a:pt x="0" y="20"/>
                      <a:pt x="0" y="30"/>
                    </a:cubicBezTo>
                    <a:cubicBezTo>
                      <a:pt x="0" y="38"/>
                      <a:pt x="5" y="45"/>
                      <a:pt x="13" y="47"/>
                    </a:cubicBezTo>
                    <a:cubicBezTo>
                      <a:pt x="24" y="51"/>
                      <a:pt x="36" y="52"/>
                      <a:pt x="48" y="52"/>
                    </a:cubicBezTo>
                    <a:cubicBezTo>
                      <a:pt x="60" y="52"/>
                      <a:pt x="71" y="51"/>
                      <a:pt x="83" y="47"/>
                    </a:cubicBezTo>
                    <a:cubicBezTo>
                      <a:pt x="91" y="45"/>
                      <a:pt x="96" y="38"/>
                      <a:pt x="96" y="30"/>
                    </a:cubicBezTo>
                    <a:cubicBezTo>
                      <a:pt x="96" y="20"/>
                      <a:pt x="89" y="10"/>
                      <a:pt x="79" y="7"/>
                    </a:cubicBezTo>
                    <a:close/>
                    <a:moveTo>
                      <a:pt x="86" y="30"/>
                    </a:moveTo>
                    <a:cubicBezTo>
                      <a:pt x="86" y="34"/>
                      <a:pt x="84" y="37"/>
                      <a:pt x="80" y="38"/>
                    </a:cubicBezTo>
                    <a:cubicBezTo>
                      <a:pt x="59" y="44"/>
                      <a:pt x="36" y="44"/>
                      <a:pt x="15" y="38"/>
                    </a:cubicBezTo>
                    <a:cubicBezTo>
                      <a:pt x="12" y="37"/>
                      <a:pt x="9" y="34"/>
                      <a:pt x="9" y="30"/>
                    </a:cubicBezTo>
                    <a:cubicBezTo>
                      <a:pt x="9" y="24"/>
                      <a:pt x="13" y="18"/>
                      <a:pt x="20" y="16"/>
                    </a:cubicBezTo>
                    <a:cubicBezTo>
                      <a:pt x="29" y="13"/>
                      <a:pt x="38" y="12"/>
                      <a:pt x="48" y="12"/>
                    </a:cubicBezTo>
                    <a:cubicBezTo>
                      <a:pt x="57" y="12"/>
                      <a:pt x="67" y="13"/>
                      <a:pt x="76" y="16"/>
                    </a:cubicBezTo>
                    <a:cubicBezTo>
                      <a:pt x="82" y="18"/>
                      <a:pt x="86" y="24"/>
                      <a:pt x="86" y="30"/>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7" name="Google Shape;3813;p70">
                <a:extLst>
                  <a:ext uri="{FF2B5EF4-FFF2-40B4-BE49-F238E27FC236}">
                    <a16:creationId xmlns:a16="http://schemas.microsoft.com/office/drawing/2014/main" id="{BE6BAD9C-4413-1781-2345-E3B24FFD1751}"/>
                  </a:ext>
                </a:extLst>
              </p:cNvPr>
              <p:cNvSpPr/>
              <p:nvPr/>
            </p:nvSpPr>
            <p:spPr>
              <a:xfrm>
                <a:off x="4083050" y="2098676"/>
                <a:ext cx="57150" cy="71438"/>
              </a:xfrm>
              <a:custGeom>
                <a:avLst/>
                <a:gdLst/>
                <a:ahLst/>
                <a:cxnLst/>
                <a:rect l="l" t="t" r="r" b="b"/>
                <a:pathLst>
                  <a:path w="57" h="71" extrusionOk="0">
                    <a:moveTo>
                      <a:pt x="48" y="0"/>
                    </a:moveTo>
                    <a:cubicBezTo>
                      <a:pt x="47" y="1"/>
                      <a:pt x="47" y="1"/>
                      <a:pt x="47" y="1"/>
                    </a:cubicBezTo>
                    <a:cubicBezTo>
                      <a:pt x="41" y="27"/>
                      <a:pt x="24" y="48"/>
                      <a:pt x="1" y="62"/>
                    </a:cubicBezTo>
                    <a:cubicBezTo>
                      <a:pt x="0" y="63"/>
                      <a:pt x="0" y="63"/>
                      <a:pt x="0" y="63"/>
                    </a:cubicBezTo>
                    <a:cubicBezTo>
                      <a:pt x="5" y="71"/>
                      <a:pt x="5" y="71"/>
                      <a:pt x="5" y="71"/>
                    </a:cubicBezTo>
                    <a:cubicBezTo>
                      <a:pt x="6" y="70"/>
                      <a:pt x="6" y="70"/>
                      <a:pt x="6" y="70"/>
                    </a:cubicBezTo>
                    <a:cubicBezTo>
                      <a:pt x="31" y="55"/>
                      <a:pt x="49" y="32"/>
                      <a:pt x="57" y="4"/>
                    </a:cubicBezTo>
                    <a:cubicBezTo>
                      <a:pt x="57" y="3"/>
                      <a:pt x="57" y="3"/>
                      <a:pt x="57" y="3"/>
                    </a:cubicBezTo>
                    <a:lnTo>
                      <a:pt x="48" y="0"/>
                    </a:ln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8" name="Google Shape;3814;p70">
                <a:extLst>
                  <a:ext uri="{FF2B5EF4-FFF2-40B4-BE49-F238E27FC236}">
                    <a16:creationId xmlns:a16="http://schemas.microsoft.com/office/drawing/2014/main" id="{F551EA11-69BC-BA85-A625-12548363BD5A}"/>
                  </a:ext>
                </a:extLst>
              </p:cNvPr>
              <p:cNvSpPr/>
              <p:nvPr/>
            </p:nvSpPr>
            <p:spPr>
              <a:xfrm>
                <a:off x="3924300" y="2097088"/>
                <a:ext cx="58738" cy="73025"/>
              </a:xfrm>
              <a:custGeom>
                <a:avLst/>
                <a:gdLst/>
                <a:ahLst/>
                <a:cxnLst/>
                <a:rect l="l" t="t" r="r" b="b"/>
                <a:pathLst>
                  <a:path w="58" h="72" extrusionOk="0">
                    <a:moveTo>
                      <a:pt x="10" y="2"/>
                    </a:moveTo>
                    <a:cubicBezTo>
                      <a:pt x="9" y="0"/>
                      <a:pt x="9" y="0"/>
                      <a:pt x="9" y="0"/>
                    </a:cubicBezTo>
                    <a:cubicBezTo>
                      <a:pt x="0" y="3"/>
                      <a:pt x="0" y="3"/>
                      <a:pt x="0" y="3"/>
                    </a:cubicBezTo>
                    <a:cubicBezTo>
                      <a:pt x="0" y="4"/>
                      <a:pt x="0" y="4"/>
                      <a:pt x="0" y="4"/>
                    </a:cubicBezTo>
                    <a:cubicBezTo>
                      <a:pt x="8" y="32"/>
                      <a:pt x="26" y="57"/>
                      <a:pt x="51" y="71"/>
                    </a:cubicBezTo>
                    <a:cubicBezTo>
                      <a:pt x="53" y="72"/>
                      <a:pt x="53" y="72"/>
                      <a:pt x="53" y="72"/>
                    </a:cubicBezTo>
                    <a:cubicBezTo>
                      <a:pt x="58" y="64"/>
                      <a:pt x="58" y="64"/>
                      <a:pt x="58" y="64"/>
                    </a:cubicBezTo>
                    <a:cubicBezTo>
                      <a:pt x="56" y="63"/>
                      <a:pt x="56" y="63"/>
                      <a:pt x="56" y="63"/>
                    </a:cubicBezTo>
                    <a:cubicBezTo>
                      <a:pt x="33" y="50"/>
                      <a:pt x="16" y="27"/>
                      <a:pt x="10" y="2"/>
                    </a:cubicBez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59" name="Google Shape;3815;p70">
                <a:extLst>
                  <a:ext uri="{FF2B5EF4-FFF2-40B4-BE49-F238E27FC236}">
                    <a16:creationId xmlns:a16="http://schemas.microsoft.com/office/drawing/2014/main" id="{1B4895DE-57C8-60EE-2EC4-37D4DAA76A86}"/>
                  </a:ext>
                </a:extLst>
              </p:cNvPr>
              <p:cNvSpPr/>
              <p:nvPr/>
            </p:nvSpPr>
            <p:spPr>
              <a:xfrm>
                <a:off x="3967162" y="1962151"/>
                <a:ext cx="130175" cy="28575"/>
              </a:xfrm>
              <a:custGeom>
                <a:avLst/>
                <a:gdLst/>
                <a:ahLst/>
                <a:cxnLst/>
                <a:rect l="l" t="t" r="r" b="b"/>
                <a:pathLst>
                  <a:path w="131" h="29" extrusionOk="0">
                    <a:moveTo>
                      <a:pt x="129" y="20"/>
                    </a:moveTo>
                    <a:cubicBezTo>
                      <a:pt x="111" y="6"/>
                      <a:pt x="89" y="0"/>
                      <a:pt x="66" y="0"/>
                    </a:cubicBezTo>
                    <a:cubicBezTo>
                      <a:pt x="43" y="0"/>
                      <a:pt x="20" y="7"/>
                      <a:pt x="2" y="20"/>
                    </a:cubicBezTo>
                    <a:cubicBezTo>
                      <a:pt x="0" y="21"/>
                      <a:pt x="0" y="21"/>
                      <a:pt x="0" y="21"/>
                    </a:cubicBezTo>
                    <a:cubicBezTo>
                      <a:pt x="6" y="29"/>
                      <a:pt x="6" y="29"/>
                      <a:pt x="6" y="29"/>
                    </a:cubicBezTo>
                    <a:cubicBezTo>
                      <a:pt x="7" y="28"/>
                      <a:pt x="7" y="28"/>
                      <a:pt x="7" y="28"/>
                    </a:cubicBezTo>
                    <a:cubicBezTo>
                      <a:pt x="24" y="16"/>
                      <a:pt x="45" y="9"/>
                      <a:pt x="66" y="9"/>
                    </a:cubicBezTo>
                    <a:cubicBezTo>
                      <a:pt x="87" y="9"/>
                      <a:pt x="107" y="16"/>
                      <a:pt x="124" y="28"/>
                    </a:cubicBezTo>
                    <a:cubicBezTo>
                      <a:pt x="125" y="28"/>
                      <a:pt x="125" y="28"/>
                      <a:pt x="125" y="28"/>
                    </a:cubicBezTo>
                    <a:cubicBezTo>
                      <a:pt x="131" y="20"/>
                      <a:pt x="131" y="20"/>
                      <a:pt x="131" y="20"/>
                    </a:cubicBezTo>
                    <a:lnTo>
                      <a:pt x="129" y="20"/>
                    </a:lnTo>
                    <a:close/>
                  </a:path>
                </a:pathLst>
              </a:custGeom>
              <a:grp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grpSp>
      </p:grpSp>
      <p:sp>
        <p:nvSpPr>
          <p:cNvPr id="60" name="Google Shape;6654;p90">
            <a:extLst>
              <a:ext uri="{FF2B5EF4-FFF2-40B4-BE49-F238E27FC236}">
                <a16:creationId xmlns:a16="http://schemas.microsoft.com/office/drawing/2014/main" id="{33C37098-C4F2-198E-02C6-EF657DE68FD9}"/>
              </a:ext>
            </a:extLst>
          </p:cNvPr>
          <p:cNvSpPr/>
          <p:nvPr/>
        </p:nvSpPr>
        <p:spPr>
          <a:xfrm>
            <a:off x="743905" y="5609839"/>
            <a:ext cx="524503" cy="571299"/>
          </a:xfrm>
          <a:custGeom>
            <a:avLst/>
            <a:gdLst/>
            <a:ahLst/>
            <a:cxnLst/>
            <a:rect l="l" t="t" r="r" b="b"/>
            <a:pathLst>
              <a:path w="208" h="208" extrusionOk="0">
                <a:moveTo>
                  <a:pt x="206" y="1"/>
                </a:moveTo>
                <a:cubicBezTo>
                  <a:pt x="206" y="0"/>
                  <a:pt x="205" y="0"/>
                  <a:pt x="204" y="0"/>
                </a:cubicBezTo>
                <a:cubicBezTo>
                  <a:pt x="4" y="0"/>
                  <a:pt x="4" y="0"/>
                  <a:pt x="4" y="0"/>
                </a:cubicBezTo>
                <a:cubicBezTo>
                  <a:pt x="3" y="0"/>
                  <a:pt x="2" y="0"/>
                  <a:pt x="1" y="1"/>
                </a:cubicBezTo>
                <a:cubicBezTo>
                  <a:pt x="0" y="2"/>
                  <a:pt x="0" y="3"/>
                  <a:pt x="0" y="4"/>
                </a:cubicBezTo>
                <a:cubicBezTo>
                  <a:pt x="0" y="20"/>
                  <a:pt x="0" y="20"/>
                  <a:pt x="0" y="20"/>
                </a:cubicBezTo>
                <a:cubicBezTo>
                  <a:pt x="0" y="21"/>
                  <a:pt x="0" y="22"/>
                  <a:pt x="1" y="23"/>
                </a:cubicBezTo>
                <a:cubicBezTo>
                  <a:pt x="2" y="24"/>
                  <a:pt x="3" y="24"/>
                  <a:pt x="4" y="24"/>
                </a:cubicBezTo>
                <a:cubicBezTo>
                  <a:pt x="8" y="24"/>
                  <a:pt x="8" y="24"/>
                  <a:pt x="8" y="24"/>
                </a:cubicBezTo>
                <a:cubicBezTo>
                  <a:pt x="8" y="140"/>
                  <a:pt x="8" y="140"/>
                  <a:pt x="8" y="140"/>
                </a:cubicBezTo>
                <a:cubicBezTo>
                  <a:pt x="8" y="141"/>
                  <a:pt x="8" y="142"/>
                  <a:pt x="9" y="143"/>
                </a:cubicBezTo>
                <a:cubicBezTo>
                  <a:pt x="10" y="144"/>
                  <a:pt x="11" y="144"/>
                  <a:pt x="12" y="144"/>
                </a:cubicBezTo>
                <a:cubicBezTo>
                  <a:pt x="100" y="144"/>
                  <a:pt x="100" y="144"/>
                  <a:pt x="100" y="144"/>
                </a:cubicBezTo>
                <a:cubicBezTo>
                  <a:pt x="100" y="158"/>
                  <a:pt x="100" y="158"/>
                  <a:pt x="100" y="158"/>
                </a:cubicBezTo>
                <a:cubicBezTo>
                  <a:pt x="57" y="201"/>
                  <a:pt x="57" y="201"/>
                  <a:pt x="57" y="201"/>
                </a:cubicBezTo>
                <a:cubicBezTo>
                  <a:pt x="55" y="203"/>
                  <a:pt x="55" y="205"/>
                  <a:pt x="57" y="207"/>
                </a:cubicBezTo>
                <a:cubicBezTo>
                  <a:pt x="58" y="208"/>
                  <a:pt x="61" y="208"/>
                  <a:pt x="63" y="207"/>
                </a:cubicBezTo>
                <a:cubicBezTo>
                  <a:pt x="100" y="170"/>
                  <a:pt x="100" y="170"/>
                  <a:pt x="100" y="170"/>
                </a:cubicBezTo>
                <a:cubicBezTo>
                  <a:pt x="100" y="204"/>
                  <a:pt x="100" y="204"/>
                  <a:pt x="100" y="204"/>
                </a:cubicBezTo>
                <a:cubicBezTo>
                  <a:pt x="100" y="206"/>
                  <a:pt x="101" y="208"/>
                  <a:pt x="104" y="208"/>
                </a:cubicBezTo>
                <a:cubicBezTo>
                  <a:pt x="106" y="208"/>
                  <a:pt x="108" y="206"/>
                  <a:pt x="108" y="204"/>
                </a:cubicBezTo>
                <a:cubicBezTo>
                  <a:pt x="108" y="170"/>
                  <a:pt x="108" y="170"/>
                  <a:pt x="108" y="170"/>
                </a:cubicBezTo>
                <a:cubicBezTo>
                  <a:pt x="145" y="207"/>
                  <a:pt x="145" y="207"/>
                  <a:pt x="145" y="207"/>
                </a:cubicBezTo>
                <a:cubicBezTo>
                  <a:pt x="146" y="208"/>
                  <a:pt x="147" y="208"/>
                  <a:pt x="148" y="208"/>
                </a:cubicBezTo>
                <a:cubicBezTo>
                  <a:pt x="149" y="208"/>
                  <a:pt x="150" y="208"/>
                  <a:pt x="150" y="207"/>
                </a:cubicBezTo>
                <a:cubicBezTo>
                  <a:pt x="152" y="205"/>
                  <a:pt x="152" y="203"/>
                  <a:pt x="151" y="201"/>
                </a:cubicBezTo>
                <a:cubicBezTo>
                  <a:pt x="108" y="158"/>
                  <a:pt x="108" y="158"/>
                  <a:pt x="108" y="158"/>
                </a:cubicBezTo>
                <a:cubicBezTo>
                  <a:pt x="108" y="144"/>
                  <a:pt x="108" y="144"/>
                  <a:pt x="108" y="144"/>
                </a:cubicBezTo>
                <a:cubicBezTo>
                  <a:pt x="196" y="144"/>
                  <a:pt x="196" y="144"/>
                  <a:pt x="196" y="144"/>
                </a:cubicBezTo>
                <a:cubicBezTo>
                  <a:pt x="197" y="144"/>
                  <a:pt x="198" y="144"/>
                  <a:pt x="198" y="143"/>
                </a:cubicBezTo>
                <a:cubicBezTo>
                  <a:pt x="199" y="142"/>
                  <a:pt x="200" y="141"/>
                  <a:pt x="200" y="140"/>
                </a:cubicBezTo>
                <a:cubicBezTo>
                  <a:pt x="200" y="24"/>
                  <a:pt x="200" y="24"/>
                  <a:pt x="200" y="24"/>
                </a:cubicBezTo>
                <a:cubicBezTo>
                  <a:pt x="204" y="24"/>
                  <a:pt x="204" y="24"/>
                  <a:pt x="204" y="24"/>
                </a:cubicBezTo>
                <a:cubicBezTo>
                  <a:pt x="205" y="24"/>
                  <a:pt x="206" y="24"/>
                  <a:pt x="206" y="23"/>
                </a:cubicBezTo>
                <a:cubicBezTo>
                  <a:pt x="207" y="22"/>
                  <a:pt x="208" y="21"/>
                  <a:pt x="208" y="20"/>
                </a:cubicBezTo>
                <a:cubicBezTo>
                  <a:pt x="208" y="4"/>
                  <a:pt x="208" y="4"/>
                  <a:pt x="208" y="4"/>
                </a:cubicBezTo>
                <a:cubicBezTo>
                  <a:pt x="208" y="3"/>
                  <a:pt x="207" y="2"/>
                  <a:pt x="206" y="1"/>
                </a:cubicBezTo>
                <a:close/>
                <a:moveTo>
                  <a:pt x="192" y="136"/>
                </a:moveTo>
                <a:cubicBezTo>
                  <a:pt x="16" y="136"/>
                  <a:pt x="16" y="136"/>
                  <a:pt x="16" y="136"/>
                </a:cubicBezTo>
                <a:cubicBezTo>
                  <a:pt x="16" y="24"/>
                  <a:pt x="16" y="24"/>
                  <a:pt x="16" y="24"/>
                </a:cubicBezTo>
                <a:cubicBezTo>
                  <a:pt x="192" y="24"/>
                  <a:pt x="192" y="24"/>
                  <a:pt x="192" y="24"/>
                </a:cubicBezTo>
                <a:lnTo>
                  <a:pt x="192" y="136"/>
                </a:lnTo>
                <a:close/>
                <a:moveTo>
                  <a:pt x="200" y="16"/>
                </a:moveTo>
                <a:cubicBezTo>
                  <a:pt x="8" y="16"/>
                  <a:pt x="8" y="16"/>
                  <a:pt x="8" y="16"/>
                </a:cubicBezTo>
                <a:cubicBezTo>
                  <a:pt x="8" y="8"/>
                  <a:pt x="8" y="8"/>
                  <a:pt x="8" y="8"/>
                </a:cubicBezTo>
                <a:cubicBezTo>
                  <a:pt x="200" y="8"/>
                  <a:pt x="200" y="8"/>
                  <a:pt x="200" y="8"/>
                </a:cubicBezTo>
                <a:lnTo>
                  <a:pt x="200" y="16"/>
                </a:lnTo>
                <a:close/>
                <a:moveTo>
                  <a:pt x="69" y="85"/>
                </a:moveTo>
                <a:cubicBezTo>
                  <a:pt x="37" y="117"/>
                  <a:pt x="37" y="117"/>
                  <a:pt x="37" y="117"/>
                </a:cubicBezTo>
                <a:cubicBezTo>
                  <a:pt x="35" y="119"/>
                  <a:pt x="35" y="121"/>
                  <a:pt x="37" y="123"/>
                </a:cubicBezTo>
                <a:cubicBezTo>
                  <a:pt x="38" y="124"/>
                  <a:pt x="39" y="124"/>
                  <a:pt x="40" y="124"/>
                </a:cubicBezTo>
                <a:cubicBezTo>
                  <a:pt x="41" y="124"/>
                  <a:pt x="42" y="124"/>
                  <a:pt x="43" y="123"/>
                </a:cubicBezTo>
                <a:cubicBezTo>
                  <a:pt x="72" y="94"/>
                  <a:pt x="72" y="94"/>
                  <a:pt x="72" y="94"/>
                </a:cubicBezTo>
                <a:cubicBezTo>
                  <a:pt x="81" y="103"/>
                  <a:pt x="81" y="103"/>
                  <a:pt x="81" y="103"/>
                </a:cubicBezTo>
                <a:cubicBezTo>
                  <a:pt x="82" y="104"/>
                  <a:pt x="83" y="104"/>
                  <a:pt x="84" y="104"/>
                </a:cubicBezTo>
                <a:cubicBezTo>
                  <a:pt x="85" y="104"/>
                  <a:pt x="86" y="104"/>
                  <a:pt x="86" y="103"/>
                </a:cubicBezTo>
                <a:cubicBezTo>
                  <a:pt x="116" y="74"/>
                  <a:pt x="116" y="74"/>
                  <a:pt x="116" y="74"/>
                </a:cubicBezTo>
                <a:cubicBezTo>
                  <a:pt x="125" y="83"/>
                  <a:pt x="125" y="83"/>
                  <a:pt x="125" y="83"/>
                </a:cubicBezTo>
                <a:cubicBezTo>
                  <a:pt x="126" y="84"/>
                  <a:pt x="127" y="84"/>
                  <a:pt x="128" y="84"/>
                </a:cubicBezTo>
                <a:cubicBezTo>
                  <a:pt x="129" y="84"/>
                  <a:pt x="130" y="84"/>
                  <a:pt x="131" y="83"/>
                </a:cubicBezTo>
                <a:cubicBezTo>
                  <a:pt x="160" y="54"/>
                  <a:pt x="160" y="54"/>
                  <a:pt x="160" y="54"/>
                </a:cubicBezTo>
                <a:cubicBezTo>
                  <a:pt x="160" y="68"/>
                  <a:pt x="160" y="68"/>
                  <a:pt x="160" y="68"/>
                </a:cubicBezTo>
                <a:cubicBezTo>
                  <a:pt x="160" y="70"/>
                  <a:pt x="161" y="72"/>
                  <a:pt x="164" y="72"/>
                </a:cubicBezTo>
                <a:cubicBezTo>
                  <a:pt x="166" y="72"/>
                  <a:pt x="168" y="70"/>
                  <a:pt x="168" y="68"/>
                </a:cubicBezTo>
                <a:cubicBezTo>
                  <a:pt x="168" y="44"/>
                  <a:pt x="168" y="44"/>
                  <a:pt x="168" y="44"/>
                </a:cubicBezTo>
                <a:cubicBezTo>
                  <a:pt x="168" y="44"/>
                  <a:pt x="168" y="43"/>
                  <a:pt x="167" y="42"/>
                </a:cubicBezTo>
                <a:cubicBezTo>
                  <a:pt x="167" y="42"/>
                  <a:pt x="167" y="42"/>
                  <a:pt x="166" y="41"/>
                </a:cubicBezTo>
                <a:cubicBezTo>
                  <a:pt x="166" y="41"/>
                  <a:pt x="166" y="41"/>
                  <a:pt x="165" y="40"/>
                </a:cubicBezTo>
                <a:cubicBezTo>
                  <a:pt x="165" y="40"/>
                  <a:pt x="165" y="40"/>
                  <a:pt x="164" y="40"/>
                </a:cubicBezTo>
                <a:cubicBezTo>
                  <a:pt x="164" y="40"/>
                  <a:pt x="164" y="40"/>
                  <a:pt x="164" y="40"/>
                </a:cubicBezTo>
                <a:cubicBezTo>
                  <a:pt x="140" y="40"/>
                  <a:pt x="140" y="40"/>
                  <a:pt x="140" y="40"/>
                </a:cubicBezTo>
                <a:cubicBezTo>
                  <a:pt x="137" y="40"/>
                  <a:pt x="136" y="42"/>
                  <a:pt x="136" y="44"/>
                </a:cubicBezTo>
                <a:cubicBezTo>
                  <a:pt x="136" y="46"/>
                  <a:pt x="137" y="48"/>
                  <a:pt x="140" y="48"/>
                </a:cubicBezTo>
                <a:cubicBezTo>
                  <a:pt x="154" y="48"/>
                  <a:pt x="154" y="48"/>
                  <a:pt x="154" y="48"/>
                </a:cubicBezTo>
                <a:cubicBezTo>
                  <a:pt x="128" y="74"/>
                  <a:pt x="128" y="74"/>
                  <a:pt x="128" y="74"/>
                </a:cubicBezTo>
                <a:cubicBezTo>
                  <a:pt x="118" y="65"/>
                  <a:pt x="118" y="65"/>
                  <a:pt x="118" y="65"/>
                </a:cubicBezTo>
                <a:cubicBezTo>
                  <a:pt x="117" y="64"/>
                  <a:pt x="114" y="64"/>
                  <a:pt x="113" y="65"/>
                </a:cubicBezTo>
                <a:cubicBezTo>
                  <a:pt x="84" y="94"/>
                  <a:pt x="84" y="94"/>
                  <a:pt x="84" y="94"/>
                </a:cubicBezTo>
                <a:cubicBezTo>
                  <a:pt x="74" y="85"/>
                  <a:pt x="74" y="85"/>
                  <a:pt x="74" y="85"/>
                </a:cubicBezTo>
                <a:cubicBezTo>
                  <a:pt x="73" y="84"/>
                  <a:pt x="70" y="84"/>
                  <a:pt x="69" y="85"/>
                </a:cubicBezTo>
                <a:close/>
                <a:moveTo>
                  <a:pt x="128" y="100"/>
                </a:moveTo>
                <a:cubicBezTo>
                  <a:pt x="128" y="102"/>
                  <a:pt x="129" y="104"/>
                  <a:pt x="132" y="104"/>
                </a:cubicBezTo>
                <a:cubicBezTo>
                  <a:pt x="172" y="104"/>
                  <a:pt x="172" y="104"/>
                  <a:pt x="172" y="104"/>
                </a:cubicBezTo>
                <a:cubicBezTo>
                  <a:pt x="174" y="104"/>
                  <a:pt x="176" y="102"/>
                  <a:pt x="176" y="100"/>
                </a:cubicBezTo>
                <a:cubicBezTo>
                  <a:pt x="176" y="98"/>
                  <a:pt x="174" y="96"/>
                  <a:pt x="172" y="96"/>
                </a:cubicBezTo>
                <a:cubicBezTo>
                  <a:pt x="132" y="96"/>
                  <a:pt x="132" y="96"/>
                  <a:pt x="132" y="96"/>
                </a:cubicBezTo>
                <a:cubicBezTo>
                  <a:pt x="129" y="96"/>
                  <a:pt x="128" y="98"/>
                  <a:pt x="128" y="100"/>
                </a:cubicBezTo>
                <a:close/>
                <a:moveTo>
                  <a:pt x="36" y="48"/>
                </a:moveTo>
                <a:cubicBezTo>
                  <a:pt x="76" y="48"/>
                  <a:pt x="76" y="48"/>
                  <a:pt x="76" y="48"/>
                </a:cubicBezTo>
                <a:cubicBezTo>
                  <a:pt x="78" y="48"/>
                  <a:pt x="80" y="46"/>
                  <a:pt x="80" y="44"/>
                </a:cubicBezTo>
                <a:cubicBezTo>
                  <a:pt x="80" y="42"/>
                  <a:pt x="78" y="40"/>
                  <a:pt x="76" y="40"/>
                </a:cubicBezTo>
                <a:cubicBezTo>
                  <a:pt x="36" y="40"/>
                  <a:pt x="36" y="40"/>
                  <a:pt x="36" y="40"/>
                </a:cubicBezTo>
                <a:cubicBezTo>
                  <a:pt x="33" y="40"/>
                  <a:pt x="32" y="42"/>
                  <a:pt x="32" y="44"/>
                </a:cubicBezTo>
                <a:cubicBezTo>
                  <a:pt x="32" y="46"/>
                  <a:pt x="33" y="48"/>
                  <a:pt x="36" y="48"/>
                </a:cubicBezTo>
                <a:close/>
                <a:moveTo>
                  <a:pt x="172" y="112"/>
                </a:moveTo>
                <a:cubicBezTo>
                  <a:pt x="116" y="112"/>
                  <a:pt x="116" y="112"/>
                  <a:pt x="116" y="112"/>
                </a:cubicBezTo>
                <a:cubicBezTo>
                  <a:pt x="113" y="112"/>
                  <a:pt x="112" y="114"/>
                  <a:pt x="112" y="116"/>
                </a:cubicBezTo>
                <a:cubicBezTo>
                  <a:pt x="112" y="118"/>
                  <a:pt x="113" y="120"/>
                  <a:pt x="116" y="120"/>
                </a:cubicBezTo>
                <a:cubicBezTo>
                  <a:pt x="172" y="120"/>
                  <a:pt x="172" y="120"/>
                  <a:pt x="172" y="120"/>
                </a:cubicBezTo>
                <a:cubicBezTo>
                  <a:pt x="174" y="120"/>
                  <a:pt x="176" y="118"/>
                  <a:pt x="176" y="116"/>
                </a:cubicBezTo>
                <a:cubicBezTo>
                  <a:pt x="176" y="114"/>
                  <a:pt x="174" y="112"/>
                  <a:pt x="172" y="112"/>
                </a:cubicBezTo>
                <a:close/>
              </a:path>
            </a:pathLst>
          </a:custGeom>
          <a:solidFill>
            <a:schemeClr val="tx1">
              <a:lumMod val="75000"/>
              <a:lumOff val="25000"/>
            </a:schemeClr>
          </a:solidFill>
          <a:ln>
            <a:noFill/>
          </a:ln>
        </p:spPr>
        <p:txBody>
          <a:bodyPr spcFirstLastPara="1" wrap="square" lIns="105500" tIns="52733" rIns="105500" bIns="52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600"/>
              <a:buFontTx/>
              <a:buNone/>
              <a:tabLst/>
              <a:defRPr/>
            </a:pPr>
            <a:endParaRPr kumimoji="0" sz="2133" b="0" i="0" u="none" strike="noStrike" kern="0" cap="none" spc="0" normalizeH="0" baseline="0" noProof="0">
              <a:ln>
                <a:noFill/>
              </a:ln>
              <a:solidFill>
                <a:srgbClr val="1A1A1A"/>
              </a:solidFill>
              <a:effectLst/>
              <a:uLnTx/>
              <a:uFillTx/>
              <a:latin typeface="Arial" panose="020B0604020202020204" pitchFamily="34" charset="0"/>
              <a:ea typeface="Arial"/>
              <a:cs typeface="Arial" panose="020B0604020202020204" pitchFamily="34" charset="0"/>
              <a:sym typeface="Arial"/>
            </a:endParaRPr>
          </a:p>
        </p:txBody>
      </p:sp>
      <p:sp>
        <p:nvSpPr>
          <p:cNvPr id="6" name="Title 1"/>
          <p:cNvSpPr txBox="1">
            <a:spLocks/>
          </p:cNvSpPr>
          <p:nvPr/>
        </p:nvSpPr>
        <p:spPr>
          <a:xfrm>
            <a:off x="537304" y="1101611"/>
            <a:ext cx="10816496" cy="705276"/>
          </a:xfrm>
          <a:prstGeom prst="rect">
            <a:avLst/>
          </a:prstGeom>
          <a:solidFill>
            <a:srgbClr val="FFFFFF"/>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FFFFFF"/>
              </a:buClr>
              <a:buSzPts val="1800"/>
              <a:buFont typeface="Arial"/>
              <a:buNone/>
              <a:defRPr sz="1800" b="1" i="0" u="none" strike="noStrike" cap="none">
                <a:solidFill>
                  <a:srgbClr val="FFFFFF"/>
                </a:solidFill>
                <a:latin typeface="Arial"/>
                <a:ea typeface="Arial"/>
                <a:cs typeface="Arial"/>
                <a:sym typeface="Arial"/>
              </a:defRPr>
            </a:lvl1pPr>
            <a:lvl2pPr marR="0" lvl="1"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2pPr>
            <a:lvl3pPr marR="0" lvl="2"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3pPr>
            <a:lvl4pPr marR="0" lvl="3"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4pPr>
            <a:lvl5pPr marR="0" lvl="4"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5pPr>
            <a:lvl6pPr marR="0" lvl="5"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6pPr>
            <a:lvl7pPr marR="0" lvl="6"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7pPr>
            <a:lvl8pPr marR="0" lvl="7"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8pPr>
            <a:lvl9pPr marR="0" lvl="8" algn="l" rtl="0" eaLnBrk="1" hangingPunct="1">
              <a:lnSpc>
                <a:spcPct val="100000"/>
              </a:lnSpc>
              <a:spcBef>
                <a:spcPts val="0"/>
              </a:spcBef>
              <a:spcAft>
                <a:spcPts val="0"/>
              </a:spcAft>
              <a:buClr>
                <a:srgbClr val="FFFFFF"/>
              </a:buClr>
              <a:buSzPts val="1400"/>
              <a:buFont typeface="Arial"/>
              <a:buNone/>
              <a:defRPr sz="1400" b="0" i="0" u="none" strike="noStrike" cap="none">
                <a:solidFill>
                  <a:srgbClr val="FFFFFF"/>
                </a:solidFill>
                <a:latin typeface="Arial"/>
                <a:ea typeface="Arial"/>
                <a:cs typeface="Arial"/>
                <a:sym typeface="Arial"/>
              </a:defRPr>
            </a:lvl9pPr>
          </a:lstStyle>
          <a:p>
            <a:pPr marL="0" marR="0" lvl="0" indent="0" algn="just" defTabSz="1219170" rtl="0" eaLnBrk="1" fontAlgn="auto" latinLnBrk="0" hangingPunct="1">
              <a:lnSpc>
                <a:spcPct val="100000"/>
              </a:lnSpc>
              <a:spcBef>
                <a:spcPts val="0"/>
              </a:spcBef>
              <a:spcAft>
                <a:spcPts val="0"/>
              </a:spcAft>
              <a:buClr>
                <a:srgbClr val="FFFFFF"/>
              </a:buClr>
              <a:buSzPts val="1800"/>
              <a:buFont typeface="Arial"/>
              <a:buNone/>
              <a:tabLst/>
              <a:defRPr/>
            </a:pPr>
            <a:r>
              <a:rPr kumimoji="0" lang="en-GB" sz="1700" b="1"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Calibri" panose="020F0502020204030204" pitchFamily="34" charset="0"/>
                <a:cs typeface="Arial" panose="020B0604020202020204" pitchFamily="34" charset="0"/>
                <a:sym typeface="Arial"/>
              </a:rPr>
              <a:t>Flex Direct is uniquely focused on assessing the role that Local Authorities can play in providing flexibility response services at scale. We are aware of other innovation projects addressing similar issues and want to maximise knowledge sharing opportunities</a:t>
            </a:r>
          </a:p>
        </p:txBody>
      </p:sp>
    </p:spTree>
    <p:custDataLst>
      <p:tags r:id="rId1"/>
    </p:custDataLst>
    <p:extLst>
      <p:ext uri="{BB962C8B-B14F-4D97-AF65-F5344CB8AC3E}">
        <p14:creationId xmlns:p14="http://schemas.microsoft.com/office/powerpoint/2010/main" val="3043142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A8D-4F28-684D-3A08-D0A9A97EE4F7}"/>
              </a:ext>
            </a:extLst>
          </p:cNvPr>
          <p:cNvSpPr>
            <a:spLocks noGrp="1"/>
          </p:cNvSpPr>
          <p:nvPr>
            <p:ph type="title"/>
          </p:nvPr>
        </p:nvSpPr>
        <p:spPr>
          <a:xfrm>
            <a:off x="1303572" y="2248196"/>
            <a:ext cx="6492075" cy="1595384"/>
          </a:xfrm>
        </p:spPr>
        <p:txBody>
          <a:bodyPr>
            <a:normAutofit fontScale="90000"/>
          </a:bodyPr>
          <a:lstStyle/>
          <a:p>
            <a:pPr>
              <a:lnSpc>
                <a:spcPct val="150000"/>
              </a:lnSpc>
            </a:pPr>
            <a:r>
              <a:rPr lang="en-GB" sz="5400"/>
              <a:t>Project Outputs &amp; Lessons Learned</a:t>
            </a:r>
          </a:p>
        </p:txBody>
      </p:sp>
    </p:spTree>
    <p:extLst>
      <p:ext uri="{BB962C8B-B14F-4D97-AF65-F5344CB8AC3E}">
        <p14:creationId xmlns:p14="http://schemas.microsoft.com/office/powerpoint/2010/main" val="2643623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4337670-2EAC-4D42-0A7D-6316F25CDBB9}"/>
              </a:ext>
            </a:extLst>
          </p:cNvPr>
          <p:cNvSpPr/>
          <p:nvPr/>
        </p:nvSpPr>
        <p:spPr>
          <a:xfrm>
            <a:off x="10049522" y="5628443"/>
            <a:ext cx="1970843" cy="887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81FF28D4-F7C5-5F83-4709-A11774C20E1C}"/>
              </a:ext>
            </a:extLst>
          </p:cNvPr>
          <p:cNvSpPr>
            <a:spLocks noGrp="1"/>
          </p:cNvSpPr>
          <p:nvPr>
            <p:ph type="title"/>
          </p:nvPr>
        </p:nvSpPr>
        <p:spPr/>
        <p:txBody>
          <a:bodyPr>
            <a:normAutofit fontScale="90000"/>
          </a:bodyPr>
          <a:lstStyle/>
          <a:p>
            <a:r>
              <a:rPr lang="en-GB"/>
              <a:t>Work Package 1: Engagement process overview</a:t>
            </a:r>
          </a:p>
        </p:txBody>
      </p:sp>
      <p:graphicFrame>
        <p:nvGraphicFramePr>
          <p:cNvPr id="5" name="Diagram 4">
            <a:extLst>
              <a:ext uri="{FF2B5EF4-FFF2-40B4-BE49-F238E27FC236}">
                <a16:creationId xmlns:a16="http://schemas.microsoft.com/office/drawing/2014/main" id="{E7B7AC88-F7D0-607A-4FDE-FBF24F4EB460}"/>
              </a:ext>
            </a:extLst>
          </p:cNvPr>
          <p:cNvGraphicFramePr/>
          <p:nvPr>
            <p:extLst>
              <p:ext uri="{D42A27DB-BD31-4B8C-83A1-F6EECF244321}">
                <p14:modId xmlns:p14="http://schemas.microsoft.com/office/powerpoint/2010/main" val="1782433714"/>
              </p:ext>
            </p:extLst>
          </p:nvPr>
        </p:nvGraphicFramePr>
        <p:xfrm>
          <a:off x="699792" y="1347034"/>
          <a:ext cx="8497419" cy="47857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A sun with text on it&#10;&#10;Description automatically generated">
            <a:extLst>
              <a:ext uri="{FF2B5EF4-FFF2-40B4-BE49-F238E27FC236}">
                <a16:creationId xmlns:a16="http://schemas.microsoft.com/office/drawing/2014/main" id="{944B29CE-F6CB-96EB-9F50-AC635C66F0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51868" y="5726349"/>
            <a:ext cx="2171284" cy="1032544"/>
          </a:xfrm>
          <a:prstGeom prst="rect">
            <a:avLst/>
          </a:prstGeom>
        </p:spPr>
      </p:pic>
    </p:spTree>
    <p:extLst>
      <p:ext uri="{BB962C8B-B14F-4D97-AF65-F5344CB8AC3E}">
        <p14:creationId xmlns:p14="http://schemas.microsoft.com/office/powerpoint/2010/main" val="1640909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221F1E4-D63C-81CE-BBCC-CF9D9933C255}"/>
              </a:ext>
            </a:extLst>
          </p:cNvPr>
          <p:cNvGraphicFramePr>
            <a:graphicFrameLocks noGrp="1"/>
          </p:cNvGraphicFramePr>
          <p:nvPr>
            <p:extLst>
              <p:ext uri="{D42A27DB-BD31-4B8C-83A1-F6EECF244321}">
                <p14:modId xmlns:p14="http://schemas.microsoft.com/office/powerpoint/2010/main" val="1659984706"/>
              </p:ext>
            </p:extLst>
          </p:nvPr>
        </p:nvGraphicFramePr>
        <p:xfrm>
          <a:off x="471446" y="633006"/>
          <a:ext cx="11249108" cy="5044792"/>
        </p:xfrm>
        <a:graphic>
          <a:graphicData uri="http://schemas.openxmlformats.org/drawingml/2006/table">
            <a:tbl>
              <a:tblPr firstRow="1" bandRow="1">
                <a:tableStyleId>{5C22544A-7EE6-4342-B048-85BDC9FD1C3A}</a:tableStyleId>
              </a:tblPr>
              <a:tblGrid>
                <a:gridCol w="5624554">
                  <a:extLst>
                    <a:ext uri="{9D8B030D-6E8A-4147-A177-3AD203B41FA5}">
                      <a16:colId xmlns:a16="http://schemas.microsoft.com/office/drawing/2014/main" val="3447572612"/>
                    </a:ext>
                  </a:extLst>
                </a:gridCol>
                <a:gridCol w="5624554">
                  <a:extLst>
                    <a:ext uri="{9D8B030D-6E8A-4147-A177-3AD203B41FA5}">
                      <a16:colId xmlns:a16="http://schemas.microsoft.com/office/drawing/2014/main" val="1823716110"/>
                    </a:ext>
                  </a:extLst>
                </a:gridCol>
              </a:tblGrid>
              <a:tr h="433639">
                <a:tc gridSpan="2">
                  <a:txBody>
                    <a:bodyPr/>
                    <a:lstStyle/>
                    <a:p>
                      <a:pPr algn="ctr"/>
                      <a:r>
                        <a:rPr lang="en-GB" sz="1800" dirty="0">
                          <a:latin typeface="Arial" panose="020B0604020202020204" pitchFamily="34" charset="0"/>
                          <a:cs typeface="Arial" panose="020B0604020202020204" pitchFamily="34" charset="0"/>
                        </a:rPr>
                        <a:t>Insights from five local authorities and three social housing providers on participating in Flex Direct</a:t>
                      </a:r>
                    </a:p>
                  </a:txBody>
                  <a:tcPr>
                    <a:solidFill>
                      <a:schemeClr val="accent2"/>
                    </a:solidFill>
                  </a:tcPr>
                </a:tc>
                <a:tc hMerge="1">
                  <a:txBody>
                    <a:bodyPr/>
                    <a:lstStyle/>
                    <a:p>
                      <a:endParaRPr lang="en-GB"/>
                    </a:p>
                  </a:txBody>
                  <a:tcPr/>
                </a:tc>
                <a:extLst>
                  <a:ext uri="{0D108BD9-81ED-4DB2-BD59-A6C34878D82A}">
                    <a16:rowId xmlns:a16="http://schemas.microsoft.com/office/drawing/2014/main" val="1098560539"/>
                  </a:ext>
                </a:extLst>
              </a:tr>
              <a:tr h="374433">
                <a:tc>
                  <a:txBody>
                    <a:bodyPr/>
                    <a:lstStyle/>
                    <a:p>
                      <a:r>
                        <a:rPr lang="en-GB" sz="1600" b="1">
                          <a:latin typeface="Arial" panose="020B0604020202020204" pitchFamily="34" charset="0"/>
                          <a:cs typeface="Arial" panose="020B0604020202020204" pitchFamily="34" charset="0"/>
                        </a:rPr>
                        <a:t>Benefits</a:t>
                      </a:r>
                    </a:p>
                  </a:txBody>
                  <a:tcPr>
                    <a:solidFill>
                      <a:schemeClr val="accent2">
                        <a:lumMod val="60000"/>
                        <a:lumOff val="40000"/>
                      </a:schemeClr>
                    </a:solidFill>
                  </a:tcPr>
                </a:tc>
                <a:tc>
                  <a:txBody>
                    <a:bodyPr/>
                    <a:lstStyle/>
                    <a:p>
                      <a:r>
                        <a:rPr lang="en-GB" sz="1600" b="1">
                          <a:latin typeface="Arial" panose="020B0604020202020204" pitchFamily="34" charset="0"/>
                          <a:cs typeface="Arial" panose="020B0604020202020204" pitchFamily="34" charset="0"/>
                        </a:rPr>
                        <a:t>Barriers</a:t>
                      </a:r>
                    </a:p>
                  </a:txBody>
                  <a:tcPr>
                    <a:solidFill>
                      <a:schemeClr val="accent2">
                        <a:lumMod val="60000"/>
                        <a:lumOff val="40000"/>
                      </a:schemeClr>
                    </a:solidFill>
                  </a:tcPr>
                </a:tc>
                <a:extLst>
                  <a:ext uri="{0D108BD9-81ED-4DB2-BD59-A6C34878D82A}">
                    <a16:rowId xmlns:a16="http://schemas.microsoft.com/office/drawing/2014/main" val="514792265"/>
                  </a:ext>
                </a:extLst>
              </a:tr>
              <a:tr h="3197084">
                <a:tc>
                  <a:txBody>
                    <a:bodyPr/>
                    <a:lstStyle/>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educed energy bills for tenants and fuel poverty alleviation</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Greater energy awareness among tenant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Clr>
                          <a:srgbClr val="000000"/>
                        </a:buClr>
                        <a:buFont typeface="Arial,Sans-Serif" panose="020B0604020202020204" pitchFamily="34" charset="0"/>
                        <a:buChar char="•"/>
                      </a:pPr>
                      <a:r>
                        <a:rPr lang="en-GB" sz="1600" b="0" i="0" u="none" strike="noStrike" noProof="0" dirty="0">
                          <a:solidFill>
                            <a:srgbClr val="000000"/>
                          </a:solidFill>
                          <a:latin typeface="Arial" panose="020B0604020202020204" pitchFamily="34" charset="0"/>
                          <a:cs typeface="Arial" panose="020B0604020202020204" pitchFamily="34" charset="0"/>
                        </a:rPr>
                        <a:t>Increased tenant appetite for retrofits through providing evidence of reduced consumption</a:t>
                      </a:r>
                    </a:p>
                    <a:p>
                      <a:pPr marL="285750" indent="-285750">
                        <a:buClr>
                          <a:srgbClr val="000000"/>
                        </a:buClr>
                        <a:buFont typeface="Arial,Sans-Serif" panose="020B0604020202020204" pitchFamily="34" charset="0"/>
                        <a:buChar char="•"/>
                      </a:pPr>
                      <a:endParaRPr lang="en-US" sz="1600" b="0" i="0" u="none" strike="noStrike" noProof="0" dirty="0">
                        <a:solidFill>
                          <a:srgbClr val="000000"/>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Housing providers working towards net zero targets</a:t>
                      </a:r>
                    </a:p>
                    <a:p>
                      <a:pPr marL="285750" lvl="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Evidence for future funding by demonstrating effective retrofit measure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Consolidated relationship with UK Power Network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Financial reward received can subsidise future retrofit plans</a:t>
                      </a:r>
                    </a:p>
                  </a:txBody>
                  <a:tcPr>
                    <a:noFill/>
                  </a:tcPr>
                </a:tc>
                <a:tc>
                  <a:txBody>
                    <a:bodyPr/>
                    <a:lstStyle/>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Data protection concerns of monitoring data on tenants’ energy usage</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Tenant scepticism towards monitoring technology (e.g. smart meter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esources (time and cost) required to measure demand reduction</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etrofit measures that are out of scope for Flex Direct, e.g. electrifying heat and heat networks</a:t>
                      </a:r>
                    </a:p>
                    <a:p>
                      <a:pPr marL="0" indent="0">
                        <a:buFont typeface="Arial" panose="020B0604020202020204" pitchFamily="34" charset="0"/>
                        <a:buNone/>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isks of not being able to uphold the terms of the contract with UK Power Network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Sitting on the border of the UK Power Networks’ licence area and therefore not all properties qualifying</a:t>
                      </a:r>
                    </a:p>
                  </a:txBody>
                  <a:tcPr>
                    <a:noFill/>
                  </a:tcPr>
                </a:tc>
                <a:extLst>
                  <a:ext uri="{0D108BD9-81ED-4DB2-BD59-A6C34878D82A}">
                    <a16:rowId xmlns:a16="http://schemas.microsoft.com/office/drawing/2014/main" val="2474072391"/>
                  </a:ext>
                </a:extLst>
              </a:tr>
            </a:tbl>
          </a:graphicData>
        </a:graphic>
      </p:graphicFrame>
      <p:pic>
        <p:nvPicPr>
          <p:cNvPr id="5" name="Picture 4" descr="A sun with text on it&#10;&#10;Description automatically generated">
            <a:extLst>
              <a:ext uri="{FF2B5EF4-FFF2-40B4-BE49-F238E27FC236}">
                <a16:creationId xmlns:a16="http://schemas.microsoft.com/office/drawing/2014/main" id="{2A3A50ED-4AAC-0EBD-3184-38E4C80B72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29422" y="5865740"/>
            <a:ext cx="2171284" cy="1032544"/>
          </a:xfrm>
          <a:prstGeom prst="rect">
            <a:avLst/>
          </a:prstGeom>
        </p:spPr>
      </p:pic>
    </p:spTree>
    <p:extLst>
      <p:ext uri="{BB962C8B-B14F-4D97-AF65-F5344CB8AC3E}">
        <p14:creationId xmlns:p14="http://schemas.microsoft.com/office/powerpoint/2010/main" val="35350013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Corridor"/>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A6BA963B32F94D9F62C7650C8557B5" ma:contentTypeVersion="18" ma:contentTypeDescription="Create a new document." ma:contentTypeScope="" ma:versionID="f3e322d987c730b53220826f0be51793">
  <xsd:schema xmlns:xsd="http://www.w3.org/2001/XMLSchema" xmlns:xs="http://www.w3.org/2001/XMLSchema" xmlns:p="http://schemas.microsoft.com/office/2006/metadata/properties" xmlns:ns2="2f53e52c-e104-4758-bf2d-d4e037b6b856" xmlns:ns3="64bb07fc-e23e-4017-8dfa-17faf72c01ec" targetNamespace="http://schemas.microsoft.com/office/2006/metadata/properties" ma:root="true" ma:fieldsID="5264f7e33b02444009b6744f1a9e5d08" ns2:_="" ns3:_="">
    <xsd:import namespace="2f53e52c-e104-4758-bf2d-d4e037b6b856"/>
    <xsd:import namespace="64bb07fc-e23e-4017-8dfa-17faf72c01e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ObjectDetectorVersions" minOccurs="0"/>
                <xsd:element ref="ns3:MediaServiceSearchProperties" minOccurs="0"/>
                <xsd:element ref="ns3:ProjectStatus" minOccurs="0"/>
                <xsd:element ref="ns3:CurrentPha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53e52c-e104-4758-bf2d-d4e037b6b8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86a821d-275e-488b-9f72-7d2e072b281b}" ma:internalName="TaxCatchAll" ma:showField="CatchAllData" ma:web="2f53e52c-e104-4758-bf2d-d4e037b6b85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4bb07fc-e23e-4017-8dfa-17faf72c01e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0ab466a-3819-475e-ab10-90933d89acad"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ProjectStatus" ma:index="23" nillable="true" ma:displayName="Project Status" ma:format="Dropdown" ma:internalName="ProjectStatus">
      <xsd:simpleType>
        <xsd:restriction base="dms:Choice">
          <xsd:enumeration value="Live"/>
          <xsd:enumeration value="Closed"/>
          <xsd:enumeration value="Unawarded"/>
        </xsd:restriction>
      </xsd:simpleType>
    </xsd:element>
    <xsd:element name="CurrentPhase" ma:index="24" nillable="true" ma:displayName="Current Phase" ma:format="Dropdown" ma:internalName="CurrentPhase">
      <xsd:simpleType>
        <xsd:restriction base="dms:Choice">
          <xsd:enumeration value="Discovery"/>
          <xsd:enumeration value="Alpha"/>
          <xsd:enumeration value="Beta"/>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4bb07fc-e23e-4017-8dfa-17faf72c01ec">
      <Terms xmlns="http://schemas.microsoft.com/office/infopath/2007/PartnerControls"/>
    </lcf76f155ced4ddcb4097134ff3c332f>
    <TaxCatchAll xmlns="2f53e52c-e104-4758-bf2d-d4e037b6b856" xsi:nil="true"/>
    <ProjectStatus xmlns="64bb07fc-e23e-4017-8dfa-17faf72c01ec" xsi:nil="true"/>
    <CurrentPhase xmlns="64bb07fc-e23e-4017-8dfa-17faf72c01e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78935C-0493-4299-9F49-A44FD30DB8E6}">
  <ds:schemaRefs>
    <ds:schemaRef ds:uri="2f53e52c-e104-4758-bf2d-d4e037b6b856"/>
    <ds:schemaRef ds:uri="64bb07fc-e23e-4017-8dfa-17faf72c01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25ABD3-EEB4-4E95-98A5-F51CB304D53D}">
  <ds:schemaRefs>
    <ds:schemaRef ds:uri="http://schemas.microsoft.com/office/2006/documentManagement/types"/>
    <ds:schemaRef ds:uri="http://purl.org/dc/terms/"/>
    <ds:schemaRef ds:uri="http://purl.org/dc/elements/1.1/"/>
    <ds:schemaRef ds:uri="64bb07fc-e23e-4017-8dfa-17faf72c01ec"/>
    <ds:schemaRef ds:uri="http://purl.org/dc/dcmitype/"/>
    <ds:schemaRef ds:uri="http://schemas.microsoft.com/office/infopath/2007/PartnerControls"/>
    <ds:schemaRef ds:uri="http://www.w3.org/XML/1998/namespace"/>
    <ds:schemaRef ds:uri="http://schemas.openxmlformats.org/package/2006/metadata/core-properties"/>
    <ds:schemaRef ds:uri="2f53e52c-e104-4758-bf2d-d4e037b6b856"/>
    <ds:schemaRef ds:uri="http://schemas.microsoft.com/office/2006/metadata/properties"/>
  </ds:schemaRefs>
</ds:datastoreItem>
</file>

<file path=customXml/itemProps3.xml><?xml version="1.0" encoding="utf-8"?>
<ds:datastoreItem xmlns:ds="http://schemas.openxmlformats.org/officeDocument/2006/customXml" ds:itemID="{8D759A59-561F-4636-BBC2-024C118D4C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5</TotalTime>
  <Words>6155</Words>
  <Application>Microsoft Office PowerPoint</Application>
  <PresentationFormat>Widescreen</PresentationFormat>
  <Paragraphs>1529</Paragraphs>
  <Slides>37</Slides>
  <Notes>19</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7</vt:i4>
      </vt:variant>
    </vt:vector>
  </HeadingPairs>
  <TitlesOfParts>
    <vt:vector size="47" baseType="lpstr">
      <vt:lpstr>Aptos</vt:lpstr>
      <vt:lpstr>Arial</vt:lpstr>
      <vt:lpstr>Arial,Sans-Serif</vt:lpstr>
      <vt:lpstr>Calibri</vt:lpstr>
      <vt:lpstr>Calibri Light</vt:lpstr>
      <vt:lpstr>Courier New</vt:lpstr>
      <vt:lpstr>Source Sans Pro</vt:lpstr>
      <vt:lpstr>Wingdings</vt:lpstr>
      <vt:lpstr>Office Theme</vt:lpstr>
      <vt:lpstr>1_Office Theme</vt:lpstr>
      <vt:lpstr>Flex Direct</vt:lpstr>
      <vt:lpstr>Contents</vt:lpstr>
      <vt:lpstr>Project Overview</vt:lpstr>
      <vt:lpstr>Context: What is the challenge?</vt:lpstr>
      <vt:lpstr>Flex Direct Project Outcomes</vt:lpstr>
      <vt:lpstr>Flex Direct – Mapping Against Other Similar Flexibility SIF Projects</vt:lpstr>
      <vt:lpstr>Project Outputs &amp; Lessons Learned</vt:lpstr>
      <vt:lpstr>Work Package 1: Engagement process overview</vt:lpstr>
      <vt:lpstr>PowerPoint Presentation</vt:lpstr>
      <vt:lpstr>Key messages</vt:lpstr>
      <vt:lpstr>Work Package 2: Contractual Frameworks</vt:lpstr>
      <vt:lpstr>Commercial Arrangement Options for Flex Direct</vt:lpstr>
      <vt:lpstr>Commercial arrangement options for Flex Direct</vt:lpstr>
      <vt:lpstr>Work Package 3: Partnership Ecosystem- Approach </vt:lpstr>
      <vt:lpstr>Work Package 3: Stakeholder Mapping </vt:lpstr>
      <vt:lpstr>Work Package 3: Stakeholder Prioritisation</vt:lpstr>
      <vt:lpstr>Work Package 3: Value Analysis </vt:lpstr>
      <vt:lpstr>Work Package 3: Roles and Responsibilities for Tier 1 Stakeholders </vt:lpstr>
      <vt:lpstr>Key Takeaways </vt:lpstr>
      <vt:lpstr>Work Package 4: Assess the benefits of scaling up Flex Direct</vt:lpstr>
      <vt:lpstr>Work Package 4: Assess the benefits of scaling up Flex Direct</vt:lpstr>
      <vt:lpstr>Peak Demand Reduction (LRE input)</vt:lpstr>
      <vt:lpstr>Load Related Expenditure Results</vt:lpstr>
      <vt:lpstr>Project Plan Update</vt:lpstr>
      <vt:lpstr>Project Plan - Planned</vt:lpstr>
      <vt:lpstr>Project Plan - Actual</vt:lpstr>
      <vt:lpstr>Progress to Plan - Summary</vt:lpstr>
      <vt:lpstr>Progress to Plan</vt:lpstr>
      <vt:lpstr>Risks</vt:lpstr>
      <vt:lpstr>Lessons Learnt</vt:lpstr>
      <vt:lpstr>Project Specific Conditions</vt:lpstr>
      <vt:lpstr>Project Specific Conditions</vt:lpstr>
      <vt:lpstr>Project Specific Conditions</vt:lpstr>
      <vt:lpstr>Next Steps</vt:lpstr>
      <vt:lpstr>Next Steps</vt:lpstr>
      <vt:lpstr>Alpha Phase Plan </vt:lpstr>
      <vt:lpstr>Questions</vt:lpstr>
    </vt:vector>
  </TitlesOfParts>
  <Company>UK Power Net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es, Richard</dc:creator>
  <cp:lastModifiedBy>Barnes, Charlie</cp:lastModifiedBy>
  <cp:revision>1</cp:revision>
  <dcterms:created xsi:type="dcterms:W3CDTF">2020-05-18T13:09:13Z</dcterms:created>
  <dcterms:modified xsi:type="dcterms:W3CDTF">2024-08-05T20:0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A6BA963B32F94D9F62C7650C8557B5</vt:lpwstr>
  </property>
  <property fmtid="{D5CDD505-2E9C-101B-9397-08002B2CF9AE}" pid="3" name="MSIP_Label_24fe2fa2-8093-4776-8a20-2d25f8c7acf2_Enabled">
    <vt:lpwstr>true</vt:lpwstr>
  </property>
  <property fmtid="{D5CDD505-2E9C-101B-9397-08002B2CF9AE}" pid="4" name="MSIP_Label_24fe2fa2-8093-4776-8a20-2d25f8c7acf2_SetDate">
    <vt:lpwstr>2022-05-06T14:22:42Z</vt:lpwstr>
  </property>
  <property fmtid="{D5CDD505-2E9C-101B-9397-08002B2CF9AE}" pid="5" name="MSIP_Label_24fe2fa2-8093-4776-8a20-2d25f8c7acf2_Method">
    <vt:lpwstr>Standard</vt:lpwstr>
  </property>
  <property fmtid="{D5CDD505-2E9C-101B-9397-08002B2CF9AE}" pid="6" name="MSIP_Label_24fe2fa2-8093-4776-8a20-2d25f8c7acf2_Name">
    <vt:lpwstr>Internal</vt:lpwstr>
  </property>
  <property fmtid="{D5CDD505-2E9C-101B-9397-08002B2CF9AE}" pid="7" name="MSIP_Label_24fe2fa2-8093-4776-8a20-2d25f8c7acf2_SiteId">
    <vt:lpwstr>887a239c-e092-45fe-92c8-d902c3681567</vt:lpwstr>
  </property>
  <property fmtid="{D5CDD505-2E9C-101B-9397-08002B2CF9AE}" pid="8" name="MSIP_Label_24fe2fa2-8093-4776-8a20-2d25f8c7acf2_ActionId">
    <vt:lpwstr>f9b732fc-0d19-4140-9560-d11c543bc493</vt:lpwstr>
  </property>
  <property fmtid="{D5CDD505-2E9C-101B-9397-08002B2CF9AE}" pid="9" name="MSIP_Label_24fe2fa2-8093-4776-8a20-2d25f8c7acf2_ContentBits">
    <vt:lpwstr>0</vt:lpwstr>
  </property>
  <property fmtid="{D5CDD505-2E9C-101B-9397-08002B2CF9AE}" pid="10" name="MediaServiceImageTags">
    <vt:lpwstr/>
  </property>
</Properties>
</file>